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tiff" ContentType="image/tif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Override1.xml" ContentType="application/vnd.openxmlformats-officedocument.themeOverride+xml"/>
  <Override PartName="/ppt/tags/tag3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14.xml" ContentType="application/vnd.openxmlformats-officedocument.presentationml.slideLayout+xml"/>
  <Override PartName="/ppt/theme/theme5.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notesSlides/notesSlide1.xml" ContentType="application/vnd.openxmlformats-officedocument.presentationml.notesSlide+xml"/>
  <Override PartName="/ppt/tags/tag93.xml" ContentType="application/vnd.openxmlformats-officedocument.presentationml.tags+xml"/>
  <Override PartName="/ppt/notesSlides/notesSlide2.xml" ContentType="application/vnd.openxmlformats-officedocument.presentationml.notesSlide+xml"/>
  <Override PartName="/ppt/tags/tag9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heme/themeOverride2.xml" ContentType="application/vnd.openxmlformats-officedocument.themeOverride+xml"/>
  <Override PartName="/ppt/tags/tag95.xml" ContentType="application/vnd.openxmlformats-officedocument.presentationml.tags+xml"/>
  <Override PartName="/ppt/notesSlides/notesSlide4.xml" ContentType="application/vnd.openxmlformats-officedocument.presentationml.notesSlide+xml"/>
  <Override PartName="/ppt/tags/tag96.xml" ContentType="application/vnd.openxmlformats-officedocument.presentationml.tags+xml"/>
  <Override PartName="/ppt/notesSlides/notesSlide5.xml" ContentType="application/vnd.openxmlformats-officedocument.presentationml.notesSlide+xml"/>
  <Override PartName="/ppt/tags/tag97.xml" ContentType="application/vnd.openxmlformats-officedocument.presentationml.tags+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0" r:id="rId5"/>
    <p:sldMasterId id="2147483689" r:id="rId6"/>
    <p:sldMasterId id="2147483694" r:id="rId7"/>
    <p:sldMasterId id="2147483698" r:id="rId8"/>
    <p:sldMasterId id="2147483700" r:id="rId9"/>
  </p:sldMasterIdLst>
  <p:notesMasterIdLst>
    <p:notesMasterId r:id="rId29"/>
  </p:notesMasterIdLst>
  <p:handoutMasterIdLst>
    <p:handoutMasterId r:id="rId30"/>
  </p:handoutMasterIdLst>
  <p:sldIdLst>
    <p:sldId id="320" r:id="rId10"/>
    <p:sldId id="298" r:id="rId11"/>
    <p:sldId id="319" r:id="rId12"/>
    <p:sldId id="334" r:id="rId13"/>
    <p:sldId id="333" r:id="rId14"/>
    <p:sldId id="335" r:id="rId15"/>
    <p:sldId id="344" r:id="rId16"/>
    <p:sldId id="322" r:id="rId17"/>
    <p:sldId id="299" r:id="rId18"/>
    <p:sldId id="346" r:id="rId19"/>
    <p:sldId id="349" r:id="rId20"/>
    <p:sldId id="341" r:id="rId21"/>
    <p:sldId id="337" r:id="rId22"/>
    <p:sldId id="338" r:id="rId23"/>
    <p:sldId id="343" r:id="rId24"/>
    <p:sldId id="340" r:id="rId25"/>
    <p:sldId id="342" r:id="rId26"/>
    <p:sldId id="348" r:id="rId27"/>
    <p:sldId id="351" r:id="rId28"/>
  </p:sldIdLst>
  <p:sldSz cx="12190413" cy="6858000"/>
  <p:notesSz cx="6819900" cy="99314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75">
          <p15:clr>
            <a:srgbClr val="A4A3A4"/>
          </p15:clr>
        </p15:guide>
        <p15:guide id="2" orient="horz" pos="4042">
          <p15:clr>
            <a:srgbClr val="A4A3A4"/>
          </p15:clr>
        </p15:guide>
        <p15:guide id="3" pos="143" userDrawn="1">
          <p15:clr>
            <a:srgbClr val="A4A3A4"/>
          </p15:clr>
        </p15:guide>
        <p15:guide id="4" pos="7536">
          <p15:clr>
            <a:srgbClr val="A4A3A4"/>
          </p15:clr>
        </p15:guide>
        <p15:guide id="7" pos="6674" userDrawn="1">
          <p15:clr>
            <a:srgbClr val="A4A3A4"/>
          </p15:clr>
        </p15:guide>
        <p15:guide id="8" orient="horz" pos="2409" userDrawn="1">
          <p15:clr>
            <a:srgbClr val="A4A3A4"/>
          </p15:clr>
        </p15:guide>
        <p15:guide id="11" orient="horz" pos="3657" userDrawn="1">
          <p15:clr>
            <a:srgbClr val="A4A3A4"/>
          </p15:clr>
        </p15:guide>
        <p15:guide id="12" pos="5835" userDrawn="1">
          <p15:clr>
            <a:srgbClr val="A4A3A4"/>
          </p15:clr>
        </p15:guide>
        <p15:guide id="13" orient="horz" pos="1842" userDrawn="1">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9500"/>
    <a:srgbClr val="65AC1E"/>
    <a:srgbClr val="00793A"/>
    <a:srgbClr val="21A0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75341" autoAdjust="0"/>
  </p:normalViewPr>
  <p:slideViewPr>
    <p:cSldViewPr showGuides="1">
      <p:cViewPr varScale="1">
        <p:scale>
          <a:sx n="72" d="100"/>
          <a:sy n="72" d="100"/>
        </p:scale>
        <p:origin x="636" y="72"/>
      </p:cViewPr>
      <p:guideLst>
        <p:guide orient="horz" pos="1275"/>
        <p:guide orient="horz" pos="4042"/>
        <p:guide pos="143"/>
        <p:guide pos="7536"/>
        <p:guide pos="6674"/>
        <p:guide orient="horz" pos="2409"/>
        <p:guide orient="horz" pos="3657"/>
        <p:guide pos="5835"/>
        <p:guide orient="horz" pos="1842"/>
      </p:guideLst>
    </p:cSldViewPr>
  </p:slideViewPr>
  <p:notesTextViewPr>
    <p:cViewPr>
      <p:scale>
        <a:sx n="3" d="2"/>
        <a:sy n="3" d="2"/>
      </p:scale>
      <p:origin x="0" y="0"/>
    </p:cViewPr>
  </p:notesTextViewPr>
  <p:sorterViewPr>
    <p:cViewPr varScale="1">
      <p:scale>
        <a:sx n="100" d="100"/>
        <a:sy n="100" d="100"/>
      </p:scale>
      <p:origin x="0" y="0"/>
    </p:cViewPr>
  </p:sorterViewPr>
  <p:notesViewPr>
    <p:cSldViewPr showGuides="1">
      <p:cViewPr>
        <p:scale>
          <a:sx n="86" d="100"/>
          <a:sy n="86" d="100"/>
        </p:scale>
        <p:origin x="2490" y="78"/>
      </p:cViewPr>
      <p:guideLst>
        <p:guide orient="horz" pos="3128"/>
        <p:guide pos="2148"/>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171695916711152"/>
          <c:y val="9.1707936757501649E-2"/>
          <c:w val="0.52967683366098595"/>
          <c:h val="0.81658412648499668"/>
        </c:manualLayout>
      </c:layout>
      <c:doughnutChart>
        <c:varyColors val="1"/>
        <c:ser>
          <c:idx val="0"/>
          <c:order val="0"/>
          <c:tx>
            <c:strRef>
              <c:f>Plan1!$B$1</c:f>
              <c:strCache>
                <c:ptCount val="1"/>
                <c:pt idx="0">
                  <c:v>%</c:v>
                </c:pt>
              </c:strCache>
            </c:strRef>
          </c:tx>
          <c:dPt>
            <c:idx val="0"/>
            <c:bubble3D val="0"/>
            <c:spPr>
              <a:solidFill>
                <a:srgbClr val="00793A"/>
              </a:solidFill>
            </c:spPr>
            <c:extLst>
              <c:ext xmlns:c16="http://schemas.microsoft.com/office/drawing/2014/chart" uri="{C3380CC4-5D6E-409C-BE32-E72D297353CC}">
                <c16:uniqueId val="{00000001-07FF-43C2-A88E-F4ECF875CC48}"/>
              </c:ext>
            </c:extLst>
          </c:dPt>
          <c:dPt>
            <c:idx val="1"/>
            <c:bubble3D val="0"/>
            <c:spPr>
              <a:solidFill>
                <a:srgbClr val="004896"/>
              </a:solidFill>
            </c:spPr>
            <c:extLst>
              <c:ext xmlns:c16="http://schemas.microsoft.com/office/drawing/2014/chart" uri="{C3380CC4-5D6E-409C-BE32-E72D297353CC}">
                <c16:uniqueId val="{00000003-07FF-43C2-A88E-F4ECF875CC48}"/>
              </c:ext>
            </c:extLst>
          </c:dPt>
          <c:dPt>
            <c:idx val="2"/>
            <c:bubble3D val="0"/>
            <c:spPr>
              <a:solidFill>
                <a:srgbClr val="21A0D2"/>
              </a:solidFill>
            </c:spPr>
            <c:extLst>
              <c:ext xmlns:c16="http://schemas.microsoft.com/office/drawing/2014/chart" uri="{C3380CC4-5D6E-409C-BE32-E72D297353CC}">
                <c16:uniqueId val="{00000005-07FF-43C2-A88E-F4ECF875CC48}"/>
              </c:ext>
            </c:extLst>
          </c:dPt>
          <c:dPt>
            <c:idx val="3"/>
            <c:bubble3D val="0"/>
            <c:spPr>
              <a:solidFill>
                <a:srgbClr val="F39500"/>
              </a:solidFill>
            </c:spPr>
            <c:extLst>
              <c:ext xmlns:c16="http://schemas.microsoft.com/office/drawing/2014/chart" uri="{C3380CC4-5D6E-409C-BE32-E72D297353CC}">
                <c16:uniqueId val="{00000007-07FF-43C2-A88E-F4ECF875CC48}"/>
              </c:ext>
            </c:extLst>
          </c:dPt>
          <c:dPt>
            <c:idx val="4"/>
            <c:bubble3D val="0"/>
            <c:spPr>
              <a:solidFill>
                <a:srgbClr val="65AC1E"/>
              </a:solidFill>
            </c:spPr>
            <c:extLst>
              <c:ext xmlns:c16="http://schemas.microsoft.com/office/drawing/2014/chart" uri="{C3380CC4-5D6E-409C-BE32-E72D297353CC}">
                <c16:uniqueId val="{00000009-07FF-43C2-A88E-F4ECF875CC48}"/>
              </c:ext>
            </c:extLst>
          </c:dPt>
          <c:dPt>
            <c:idx val="5"/>
            <c:bubble3D val="0"/>
            <c:spPr>
              <a:solidFill>
                <a:sysClr val="window" lastClr="FFFFFF">
                  <a:lumMod val="65000"/>
                </a:sysClr>
              </a:solidFill>
            </c:spPr>
            <c:extLst>
              <c:ext xmlns:c16="http://schemas.microsoft.com/office/drawing/2014/chart" uri="{C3380CC4-5D6E-409C-BE32-E72D297353CC}">
                <c16:uniqueId val="{0000000B-07FF-43C2-A88E-F4ECF875CC48}"/>
              </c:ext>
            </c:extLst>
          </c:dPt>
          <c:dLbls>
            <c:dLbl>
              <c:idx val="2"/>
              <c:spPr/>
              <c:txPr>
                <a:bodyPr/>
                <a:lstStyle/>
                <a:p>
                  <a:pPr>
                    <a:defRPr sz="1600" b="1" spc="-80" baseline="0">
                      <a:solidFill>
                        <a:schemeClr val="bg1"/>
                      </a:solidFill>
                    </a:defRPr>
                  </a:pPr>
                  <a:endParaRPr lang="es-PE"/>
                </a:p>
              </c:txPr>
              <c:showLegendKey val="0"/>
              <c:showVal val="1"/>
              <c:showCatName val="0"/>
              <c:showSerName val="0"/>
              <c:showPercent val="0"/>
              <c:showBubbleSize val="0"/>
              <c:extLst>
                <c:ext xmlns:c16="http://schemas.microsoft.com/office/drawing/2014/chart" uri="{C3380CC4-5D6E-409C-BE32-E72D297353CC}">
                  <c16:uniqueId val="{00000005-07FF-43C2-A88E-F4ECF875CC48}"/>
                </c:ext>
              </c:extLst>
            </c:dLbl>
            <c:dLbl>
              <c:idx val="5"/>
              <c:layout>
                <c:manualLayout>
                  <c:x val="4.4683159031100126E-3"/>
                  <c:y val="-4.7845269517596996E-2"/>
                </c:manualLayout>
              </c:layout>
              <c:spPr/>
              <c:txPr>
                <a:bodyPr/>
                <a:lstStyle/>
                <a:p>
                  <a:pPr>
                    <a:defRPr sz="1600" b="1" spc="-80" baseline="0">
                      <a:solidFill>
                        <a:schemeClr val="bg1"/>
                      </a:solidFill>
                    </a:defRPr>
                  </a:pPr>
                  <a:endParaRPr lang="es-P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7FF-43C2-A88E-F4ECF875CC48}"/>
                </c:ext>
              </c:extLst>
            </c:dLbl>
            <c:spPr>
              <a:noFill/>
              <a:ln>
                <a:noFill/>
              </a:ln>
              <a:effectLst/>
            </c:spPr>
            <c:txPr>
              <a:bodyPr/>
              <a:lstStyle/>
              <a:p>
                <a:pPr>
                  <a:defRPr sz="1600" b="1" spc="-80" baseline="0">
                    <a:solidFill>
                      <a:schemeClr val="bg1"/>
                    </a:solidFill>
                  </a:defRPr>
                </a:pPr>
                <a:endParaRPr lang="es-PE"/>
              </a:p>
            </c:txPr>
            <c:showLegendKey val="0"/>
            <c:showVal val="1"/>
            <c:showCatName val="0"/>
            <c:showSerName val="0"/>
            <c:showPercent val="0"/>
            <c:showBubbleSize val="0"/>
            <c:showLeaderLines val="1"/>
            <c:extLst>
              <c:ext xmlns:c15="http://schemas.microsoft.com/office/drawing/2012/chart" uri="{CE6537A1-D6FC-4f65-9D91-7224C49458BB}"/>
            </c:extLst>
          </c:dLbls>
          <c:cat>
            <c:strRef>
              <c:f>Plan1!$A$2:$A$7</c:f>
              <c:strCache>
                <c:ptCount val="6"/>
                <c:pt idx="0">
                  <c:v>Agricultural Solutions</c:v>
                </c:pt>
                <c:pt idx="1">
                  <c:v>Functional Materials &amp; Solutions</c:v>
                </c:pt>
                <c:pt idx="2">
                  <c:v>Performance products</c:v>
                </c:pt>
                <c:pt idx="3">
                  <c:v>Oil and Gas</c:v>
                </c:pt>
                <c:pt idx="4">
                  <c:v>Chemicals</c:v>
                </c:pt>
                <c:pt idx="5">
                  <c:v>Others</c:v>
                </c:pt>
              </c:strCache>
            </c:strRef>
          </c:cat>
          <c:val>
            <c:numRef>
              <c:f>Plan1!$B$2:$B$7</c:f>
              <c:numCache>
                <c:formatCode>0%</c:formatCode>
                <c:ptCount val="6"/>
                <c:pt idx="0">
                  <c:v>0.31813363940039019</c:v>
                </c:pt>
                <c:pt idx="1">
                  <c:v>0.20278267200987124</c:v>
                </c:pt>
                <c:pt idx="2">
                  <c:v>0.22762634992802239</c:v>
                </c:pt>
                <c:pt idx="3">
                  <c:v>0.14133906190076534</c:v>
                </c:pt>
                <c:pt idx="4">
                  <c:v>0.10329846540349162</c:v>
                </c:pt>
                <c:pt idx="5">
                  <c:v>6.8198113574592725E-3</c:v>
                </c:pt>
              </c:numCache>
            </c:numRef>
          </c:val>
          <c:extLst>
            <c:ext xmlns:c16="http://schemas.microsoft.com/office/drawing/2014/chart" uri="{C3380CC4-5D6E-409C-BE32-E72D297353CC}">
              <c16:uniqueId val="{0000000C-07FF-43C2-A88E-F4ECF875CC48}"/>
            </c:ext>
          </c:extLst>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s-PE"/>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5290" cy="496570"/>
          </a:xfrm>
          <a:prstGeom prst="rect">
            <a:avLst/>
          </a:prstGeom>
        </p:spPr>
        <p:txBody>
          <a:bodyPr vert="horz" lIns="91440" tIns="45720" rIns="91440" bIns="45720" rtlCol="0"/>
          <a:lstStyle>
            <a:lvl1pPr algn="l">
              <a:defRPr sz="1200"/>
            </a:lvl1pPr>
          </a:lstStyle>
          <a:p>
            <a:endParaRPr lang="de-DE" dirty="0">
              <a:latin typeface="Arial" pitchFamily="34" charset="0"/>
              <a:cs typeface="Arial" pitchFamily="34" charset="0"/>
            </a:endParaRPr>
          </a:p>
        </p:txBody>
      </p:sp>
      <p:sp>
        <p:nvSpPr>
          <p:cNvPr id="3" name="Datumsplatzhalter 2"/>
          <p:cNvSpPr>
            <a:spLocks noGrp="1"/>
          </p:cNvSpPr>
          <p:nvPr>
            <p:ph type="dt" sz="quarter" idx="1"/>
          </p:nvPr>
        </p:nvSpPr>
        <p:spPr>
          <a:xfrm>
            <a:off x="3863032" y="0"/>
            <a:ext cx="2955290" cy="496570"/>
          </a:xfrm>
          <a:prstGeom prst="rect">
            <a:avLst/>
          </a:prstGeom>
        </p:spPr>
        <p:txBody>
          <a:bodyPr vert="horz" lIns="91440" tIns="45720" rIns="91440" bIns="45720" rtlCol="0"/>
          <a:lstStyle>
            <a:lvl1pPr algn="r">
              <a:defRPr sz="1200"/>
            </a:lvl1pPr>
          </a:lstStyle>
          <a:p>
            <a:endParaRPr lang="de-DE" dirty="0">
              <a:latin typeface="Arial" pitchFamily="34" charset="0"/>
              <a:cs typeface="Arial" pitchFamily="34" charset="0"/>
            </a:endParaRPr>
          </a:p>
        </p:txBody>
      </p:sp>
      <p:sp>
        <p:nvSpPr>
          <p:cNvPr id="4" name="Fußzeilenplatzhalter 3"/>
          <p:cNvSpPr>
            <a:spLocks noGrp="1"/>
          </p:cNvSpPr>
          <p:nvPr>
            <p:ph type="ftr" sz="quarter" idx="2"/>
          </p:nvPr>
        </p:nvSpPr>
        <p:spPr>
          <a:xfrm>
            <a:off x="0" y="9433106"/>
            <a:ext cx="2955290" cy="496570"/>
          </a:xfrm>
          <a:prstGeom prst="rect">
            <a:avLst/>
          </a:prstGeom>
        </p:spPr>
        <p:txBody>
          <a:bodyPr vert="horz" lIns="91440" tIns="45720" rIns="91440" bIns="45720" rtlCol="0" anchor="b"/>
          <a:lstStyle>
            <a:lvl1pPr algn="l">
              <a:defRPr sz="1200"/>
            </a:lvl1pPr>
          </a:lstStyle>
          <a:p>
            <a:endParaRPr lang="de-DE">
              <a:latin typeface="Arial" pitchFamily="34" charset="0"/>
              <a:cs typeface="Arial" pitchFamily="34" charset="0"/>
            </a:endParaRPr>
          </a:p>
        </p:txBody>
      </p:sp>
      <p:sp>
        <p:nvSpPr>
          <p:cNvPr id="5" name="Foliennummernplatzhalter 4"/>
          <p:cNvSpPr>
            <a:spLocks noGrp="1"/>
          </p:cNvSpPr>
          <p:nvPr>
            <p:ph type="sldNum" sz="quarter" idx="3"/>
          </p:nvPr>
        </p:nvSpPr>
        <p:spPr>
          <a:xfrm>
            <a:off x="3863032" y="9433106"/>
            <a:ext cx="2955290" cy="496570"/>
          </a:xfrm>
          <a:prstGeom prst="rect">
            <a:avLst/>
          </a:prstGeom>
        </p:spPr>
        <p:txBody>
          <a:bodyPr vert="horz" lIns="91440" tIns="45720" rIns="91440" bIns="45720" rtlCol="0" anchor="b"/>
          <a:lstStyle>
            <a:lvl1pPr algn="r">
              <a:defRPr sz="1200"/>
            </a:lvl1pPr>
          </a:lstStyle>
          <a:p>
            <a:fld id="{8D186466-5020-480F-98D6-C4C83B2E2945}" type="slidenum">
              <a:rPr lang="de-DE" smtClean="0">
                <a:latin typeface="Arial" pitchFamily="34" charset="0"/>
                <a:cs typeface="Arial" pitchFamily="34" charset="0"/>
              </a:rPr>
              <a:t>‹Nº›</a:t>
            </a:fld>
            <a:endParaRPr lang="de-DE">
              <a:latin typeface="Arial" pitchFamily="34" charset="0"/>
              <a:cs typeface="Arial" pitchFamily="34" charset="0"/>
            </a:endParaRPr>
          </a:p>
        </p:txBody>
      </p:sp>
    </p:spTree>
    <p:extLst>
      <p:ext uri="{BB962C8B-B14F-4D97-AF65-F5344CB8AC3E}">
        <p14:creationId xmlns:p14="http://schemas.microsoft.com/office/powerpoint/2010/main" val="361628794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55290" cy="496570"/>
          </a:xfrm>
          <a:prstGeom prst="rect">
            <a:avLst/>
          </a:prstGeom>
        </p:spPr>
        <p:txBody>
          <a:bodyPr vert="horz" lIns="91440" tIns="45720" rIns="91440" bIns="45720" rtlCol="0"/>
          <a:lstStyle>
            <a:lvl1pPr algn="l">
              <a:defRPr sz="1200">
                <a:latin typeface="Arial" pitchFamily="34" charset="0"/>
                <a:cs typeface="Arial" pitchFamily="34" charset="0"/>
              </a:defRPr>
            </a:lvl1pPr>
          </a:lstStyle>
          <a:p>
            <a:endParaRPr lang="de-DE" dirty="0"/>
          </a:p>
        </p:txBody>
      </p:sp>
      <p:sp>
        <p:nvSpPr>
          <p:cNvPr id="3" name="Datumsplatzhalter 2"/>
          <p:cNvSpPr>
            <a:spLocks noGrp="1"/>
          </p:cNvSpPr>
          <p:nvPr>
            <p:ph type="dt" idx="1"/>
          </p:nvPr>
        </p:nvSpPr>
        <p:spPr>
          <a:xfrm>
            <a:off x="3863032" y="0"/>
            <a:ext cx="2955290" cy="496570"/>
          </a:xfrm>
          <a:prstGeom prst="rect">
            <a:avLst/>
          </a:prstGeom>
        </p:spPr>
        <p:txBody>
          <a:bodyPr vert="horz" lIns="91440" tIns="45720" rIns="91440" bIns="45720" rtlCol="0"/>
          <a:lstStyle>
            <a:lvl1pPr algn="r">
              <a:defRPr sz="1200">
                <a:latin typeface="Arial" pitchFamily="34" charset="0"/>
                <a:cs typeface="Arial" pitchFamily="34" charset="0"/>
              </a:defRPr>
            </a:lvl1pPr>
          </a:lstStyle>
          <a:p>
            <a:endParaRPr lang="de-DE" dirty="0"/>
          </a:p>
        </p:txBody>
      </p:sp>
      <p:sp>
        <p:nvSpPr>
          <p:cNvPr id="4" name="Folienbildplatzhalter 3"/>
          <p:cNvSpPr>
            <a:spLocks noGrp="1" noRot="1" noChangeAspect="1"/>
          </p:cNvSpPr>
          <p:nvPr>
            <p:ph type="sldImg" idx="2"/>
          </p:nvPr>
        </p:nvSpPr>
        <p:spPr>
          <a:xfrm>
            <a:off x="681990" y="744538"/>
            <a:ext cx="5455920" cy="3070953"/>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4000" y="4176000"/>
            <a:ext cx="5455920" cy="5038172"/>
          </a:xfrm>
          <a:prstGeom prst="rect">
            <a:avLst/>
          </a:prstGeom>
        </p:spPr>
        <p:txBody>
          <a:bodyPr vert="horz" lIns="0" tIns="0" rIns="0" bIns="0" rtlCol="0"/>
          <a:lstStyle/>
          <a:p>
            <a:pPr marL="179388" lvl="0" indent="-179388">
              <a:lnSpc>
                <a:spcPct val="95000"/>
              </a:lnSpc>
              <a:spcBef>
                <a:spcPts val="1800"/>
              </a:spcBef>
              <a:buClr>
                <a:schemeClr val="accent1"/>
              </a:buClr>
              <a:buFont typeface="Wingdings" pitchFamily="2" charset="2"/>
              <a:buChar char="n"/>
            </a:pPr>
            <a:r>
              <a:rPr lang="de-DE" dirty="0"/>
              <a:t>Textmasterformat bearbeiten</a:t>
            </a:r>
          </a:p>
          <a:p>
            <a:pPr marL="360363" lvl="1" indent="-180975">
              <a:lnSpc>
                <a:spcPct val="95000"/>
              </a:lnSpc>
              <a:spcBef>
                <a:spcPts val="600"/>
              </a:spcBef>
              <a:buClr>
                <a:schemeClr val="accent1"/>
              </a:buClr>
              <a:buSzPct val="90000"/>
              <a:buFont typeface="Wingdings 3" pitchFamily="18" charset="2"/>
              <a:buChar char="u"/>
            </a:pPr>
            <a:r>
              <a:rPr lang="de-DE" dirty="0"/>
              <a:t>Zweite Ebene</a:t>
            </a:r>
          </a:p>
          <a:p>
            <a:pPr marL="525463" lvl="2" indent="-165100">
              <a:lnSpc>
                <a:spcPct val="95000"/>
              </a:lnSpc>
              <a:spcBef>
                <a:spcPts val="300"/>
              </a:spcBef>
              <a:buClr>
                <a:schemeClr val="accent1"/>
              </a:buClr>
              <a:buSzPct val="90000"/>
              <a:buFont typeface="Wingdings" pitchFamily="2" charset="2"/>
              <a:buChar char="l"/>
            </a:pPr>
            <a:r>
              <a:rPr lang="de-DE" dirty="0"/>
              <a:t>Dritte Ebene</a:t>
            </a:r>
          </a:p>
          <a:p>
            <a:pPr marL="673100" lvl="3" indent="-136525">
              <a:lnSpc>
                <a:spcPct val="95000"/>
              </a:lnSpc>
              <a:buFont typeface="Arial" pitchFamily="34" charset="0"/>
              <a:buChar char="–"/>
            </a:pPr>
            <a:r>
              <a:rPr lang="de-DE" dirty="0"/>
              <a:t>Vierte Ebene</a:t>
            </a:r>
          </a:p>
        </p:txBody>
      </p:sp>
      <p:sp>
        <p:nvSpPr>
          <p:cNvPr id="7" name="Foliennummernplatzhalter 6"/>
          <p:cNvSpPr>
            <a:spLocks noGrp="1"/>
          </p:cNvSpPr>
          <p:nvPr>
            <p:ph type="sldNum" sz="quarter" idx="5"/>
          </p:nvPr>
        </p:nvSpPr>
        <p:spPr>
          <a:xfrm>
            <a:off x="3863032" y="9433106"/>
            <a:ext cx="2955290" cy="496570"/>
          </a:xfrm>
          <a:prstGeom prst="rect">
            <a:avLst/>
          </a:prstGeom>
        </p:spPr>
        <p:txBody>
          <a:bodyPr vert="horz" lIns="91440" tIns="45720" rIns="91440" bIns="45720" rtlCol="0" anchor="b"/>
          <a:lstStyle>
            <a:lvl1pPr algn="r">
              <a:defRPr sz="1200">
                <a:latin typeface="Arial" pitchFamily="34" charset="0"/>
                <a:cs typeface="Arial" pitchFamily="34" charset="0"/>
              </a:defRPr>
            </a:lvl1pPr>
          </a:lstStyle>
          <a:p>
            <a:fld id="{8FF7B9E9-6F9D-4999-8E35-8BAD09A8460E}" type="slidenum">
              <a:rPr lang="de-DE" smtClean="0"/>
              <a:pPr/>
              <a:t>‹Nº›</a:t>
            </a:fld>
            <a:endParaRPr lang="de-DE"/>
          </a:p>
        </p:txBody>
      </p:sp>
      <p:sp>
        <p:nvSpPr>
          <p:cNvPr id="8" name="Fußzeilenplatzhalter 7"/>
          <p:cNvSpPr>
            <a:spLocks noGrp="1"/>
          </p:cNvSpPr>
          <p:nvPr>
            <p:ph type="ftr" sz="quarter" idx="4"/>
          </p:nvPr>
        </p:nvSpPr>
        <p:spPr>
          <a:xfrm>
            <a:off x="0" y="9433106"/>
            <a:ext cx="2955290" cy="496570"/>
          </a:xfrm>
          <a:prstGeom prst="rect">
            <a:avLst/>
          </a:prstGeom>
        </p:spPr>
        <p:txBody>
          <a:bodyPr vert="horz" lIns="91440" tIns="45720" rIns="91440" bIns="45720" rtlCol="0" anchor="b"/>
          <a:lstStyle>
            <a:lvl1pPr algn="l">
              <a:defRPr sz="1200"/>
            </a:lvl1pPr>
          </a:lstStyle>
          <a:p>
            <a:endParaRPr lang="de-DE"/>
          </a:p>
        </p:txBody>
      </p:sp>
    </p:spTree>
    <p:extLst>
      <p:ext uri="{BB962C8B-B14F-4D97-AF65-F5344CB8AC3E}">
        <p14:creationId xmlns:p14="http://schemas.microsoft.com/office/powerpoint/2010/main" val="3609412146"/>
      </p:ext>
    </p:extLst>
  </p:cSld>
  <p:clrMap bg1="lt1" tx1="dk1" bg2="lt2" tx2="dk2" accent1="accent1" accent2="accent2" accent3="accent3" accent4="accent4" accent5="accent5" accent6="accent6" hlink="hlink" folHlink="folHlink"/>
  <p:hf hdr="0" dt="0"/>
  <p:notesStyle>
    <a:lvl1pPr marL="0" algn="l" defTabSz="914400" rtl="0" eaLnBrk="1" latinLnBrk="0" hangingPunct="1">
      <a:spcBef>
        <a:spcPts val="900"/>
      </a:spcBef>
      <a:defRPr lang="de-DE" sz="1050" kern="1200" noProof="0" smtClean="0">
        <a:solidFill>
          <a:schemeClr val="tx1"/>
        </a:solidFill>
        <a:latin typeface="Arial" pitchFamily="34" charset="0"/>
        <a:ea typeface="+mn-ea"/>
        <a:cs typeface="Arial" pitchFamily="34" charset="0"/>
      </a:defRPr>
    </a:lvl1pPr>
    <a:lvl2pPr marL="457200" algn="l" defTabSz="914400" rtl="0" eaLnBrk="1" latinLnBrk="0" hangingPunct="1">
      <a:spcBef>
        <a:spcPts val="900"/>
      </a:spcBef>
      <a:defRPr lang="de-DE" sz="1050" kern="1200" noProof="0" smtClean="0">
        <a:solidFill>
          <a:schemeClr val="tx1"/>
        </a:solidFill>
        <a:latin typeface="Arial" pitchFamily="34" charset="0"/>
        <a:ea typeface="+mn-ea"/>
        <a:cs typeface="Arial" pitchFamily="34" charset="0"/>
      </a:defRPr>
    </a:lvl2pPr>
    <a:lvl3pPr marL="914400" algn="l" defTabSz="914400" rtl="0" eaLnBrk="1" latinLnBrk="0" hangingPunct="1">
      <a:spcBef>
        <a:spcPts val="900"/>
      </a:spcBef>
      <a:defRPr lang="de-DE" sz="1050" kern="1200" noProof="0" smtClean="0">
        <a:solidFill>
          <a:schemeClr val="tx1"/>
        </a:solidFill>
        <a:latin typeface="Arial" pitchFamily="34" charset="0"/>
        <a:ea typeface="+mn-ea"/>
        <a:cs typeface="Arial" pitchFamily="34" charset="0"/>
      </a:defRPr>
    </a:lvl3pPr>
    <a:lvl4pPr marL="1371600" algn="l" defTabSz="914400" rtl="0" eaLnBrk="1" latinLnBrk="0" hangingPunct="1">
      <a:spcBef>
        <a:spcPts val="900"/>
      </a:spcBef>
      <a:defRPr lang="de-DE" sz="1050" kern="1200" noProof="0" smtClean="0">
        <a:solidFill>
          <a:schemeClr val="tx1"/>
        </a:solidFill>
        <a:latin typeface="Arial" pitchFamily="34" charset="0"/>
        <a:ea typeface="+mn-ea"/>
        <a:cs typeface="Arial" pitchFamily="34" charset="0"/>
      </a:defRPr>
    </a:lvl4pPr>
    <a:lvl5pPr marL="1828800" algn="l" defTabSz="914400" rtl="0" eaLnBrk="1" latinLnBrk="0" hangingPunct="1">
      <a:defRPr lang="de-DE" sz="1200" kern="1200" noProof="0" dirty="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41BA24-7F71-4152-ADA6-F68FF3747F4C}"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6" name="Folienbildplatzhalter 5"/>
          <p:cNvSpPr>
            <a:spLocks noGrp="1" noRot="1" noChangeAspect="1"/>
          </p:cNvSpPr>
          <p:nvPr>
            <p:ph type="sldImg"/>
          </p:nvPr>
        </p:nvSpPr>
        <p:spPr>
          <a:xfrm>
            <a:off x="682625" y="744538"/>
            <a:ext cx="5454650" cy="3070225"/>
          </a:xfrm>
        </p:spPr>
      </p:sp>
      <p:sp>
        <p:nvSpPr>
          <p:cNvPr id="7" name="Notizenplatzhalter 6"/>
          <p:cNvSpPr>
            <a:spLocks noGrp="1"/>
          </p:cNvSpPr>
          <p:nvPr>
            <p:ph type="body" idx="1"/>
          </p:nvPr>
        </p:nvSpPr>
        <p:spPr/>
        <p:txBody>
          <a:bodyPr/>
          <a:lstStyle/>
          <a:p>
            <a:endParaRPr lang="de-DE"/>
          </a:p>
        </p:txBody>
      </p:sp>
    </p:spTree>
    <p:extLst>
      <p:ext uri="{BB962C8B-B14F-4D97-AF65-F5344CB8AC3E}">
        <p14:creationId xmlns:p14="http://schemas.microsoft.com/office/powerpoint/2010/main" val="19987652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Foliennummernplatzhalter 1"/>
          <p:cNvSpPr>
            <a:spLocks noGrp="1"/>
          </p:cNvSpPr>
          <p:nvPr>
            <p:ph type="sldNum" sz="quarter" idx="5"/>
          </p:nvPr>
        </p:nvSpPr>
        <p:spPr/>
        <p:txBody>
          <a:bodyPr/>
          <a:lstStyle>
            <a:lvl1pPr eaLnBrk="0" hangingPunct="0">
              <a:defRPr>
                <a:solidFill>
                  <a:schemeClr val="tx1"/>
                </a:solidFill>
                <a:latin typeface="Arial" charset="0"/>
                <a:cs typeface="Arial" charset="0"/>
              </a:defRPr>
            </a:lvl1pPr>
            <a:lvl2pPr marL="716704" indent="-275656" eaLnBrk="0" hangingPunct="0">
              <a:defRPr>
                <a:solidFill>
                  <a:schemeClr val="tx1"/>
                </a:solidFill>
                <a:latin typeface="Arial" charset="0"/>
                <a:cs typeface="Arial" charset="0"/>
              </a:defRPr>
            </a:lvl2pPr>
            <a:lvl3pPr marL="1102623" indent="-220525" eaLnBrk="0" hangingPunct="0">
              <a:defRPr>
                <a:solidFill>
                  <a:schemeClr val="tx1"/>
                </a:solidFill>
                <a:latin typeface="Arial" charset="0"/>
                <a:cs typeface="Arial" charset="0"/>
              </a:defRPr>
            </a:lvl3pPr>
            <a:lvl4pPr marL="1543673" indent="-220525" eaLnBrk="0" hangingPunct="0">
              <a:defRPr>
                <a:solidFill>
                  <a:schemeClr val="tx1"/>
                </a:solidFill>
                <a:latin typeface="Arial" charset="0"/>
                <a:cs typeface="Arial" charset="0"/>
              </a:defRPr>
            </a:lvl4pPr>
            <a:lvl5pPr marL="1984721" indent="-220525" eaLnBrk="0" hangingPunct="0">
              <a:defRPr>
                <a:solidFill>
                  <a:schemeClr val="tx1"/>
                </a:solidFill>
                <a:latin typeface="Arial" charset="0"/>
                <a:cs typeface="Arial" charset="0"/>
              </a:defRPr>
            </a:lvl5pPr>
            <a:lvl6pPr marL="2425771" indent="-220525" eaLnBrk="0" fontAlgn="base" hangingPunct="0">
              <a:spcBef>
                <a:spcPct val="0"/>
              </a:spcBef>
              <a:spcAft>
                <a:spcPct val="0"/>
              </a:spcAft>
              <a:defRPr>
                <a:solidFill>
                  <a:schemeClr val="tx1"/>
                </a:solidFill>
                <a:latin typeface="Arial" charset="0"/>
                <a:cs typeface="Arial" charset="0"/>
              </a:defRPr>
            </a:lvl6pPr>
            <a:lvl7pPr marL="2866819" indent="-220525" eaLnBrk="0" fontAlgn="base" hangingPunct="0">
              <a:spcBef>
                <a:spcPct val="0"/>
              </a:spcBef>
              <a:spcAft>
                <a:spcPct val="0"/>
              </a:spcAft>
              <a:defRPr>
                <a:solidFill>
                  <a:schemeClr val="tx1"/>
                </a:solidFill>
                <a:latin typeface="Arial" charset="0"/>
                <a:cs typeface="Arial" charset="0"/>
              </a:defRPr>
            </a:lvl7pPr>
            <a:lvl8pPr marL="3307870" indent="-220525" eaLnBrk="0" fontAlgn="base" hangingPunct="0">
              <a:spcBef>
                <a:spcPct val="0"/>
              </a:spcBef>
              <a:spcAft>
                <a:spcPct val="0"/>
              </a:spcAft>
              <a:defRPr>
                <a:solidFill>
                  <a:schemeClr val="tx1"/>
                </a:solidFill>
                <a:latin typeface="Arial" charset="0"/>
                <a:cs typeface="Arial" charset="0"/>
              </a:defRPr>
            </a:lvl8pPr>
            <a:lvl9pPr marL="3748919" indent="-220525" eaLnBrk="0" fontAlgn="base" hangingPunct="0">
              <a:spcBef>
                <a:spcPct val="0"/>
              </a:spcBef>
              <a:spcAft>
                <a:spcPct val="0"/>
              </a:spcAft>
              <a:defRPr>
                <a:solidFill>
                  <a:schemeClr val="tx1"/>
                </a:solidFill>
                <a:latin typeface="Arial" charset="0"/>
                <a:cs typeface="Arial" charset="0"/>
              </a:defRPr>
            </a:lvl9pPr>
          </a:lstStyle>
          <a:p>
            <a:fld id="{FFC2CD22-7528-48A6-AFFC-36534FA2E4DF}" type="slidenum">
              <a:rPr lang="de-DE" smtClean="0"/>
              <a:pPr/>
              <a:t>2</a:t>
            </a:fld>
            <a:endParaRPr lang="de-DE"/>
          </a:p>
        </p:txBody>
      </p:sp>
      <p:sp>
        <p:nvSpPr>
          <p:cNvPr id="3" name="Folienbildplatzhalter 2"/>
          <p:cNvSpPr>
            <a:spLocks noGrp="1" noRot="1" noChangeAspect="1"/>
          </p:cNvSpPr>
          <p:nvPr>
            <p:ph type="sldImg"/>
          </p:nvPr>
        </p:nvSpPr>
        <p:spPr>
          <a:xfrm>
            <a:off x="682625" y="744538"/>
            <a:ext cx="5454650" cy="3070225"/>
          </a:xfrm>
        </p:spPr>
      </p:sp>
      <p:sp>
        <p:nvSpPr>
          <p:cNvPr id="4" name="Notizenplatzhalter 3"/>
          <p:cNvSpPr>
            <a:spLocks noGrp="1"/>
          </p:cNvSpPr>
          <p:nvPr>
            <p:ph type="body" idx="1"/>
          </p:nvPr>
        </p:nvSpPr>
        <p:spPr/>
        <p:txBody>
          <a:bodyPr/>
          <a:lstStyle/>
          <a:p>
            <a:endParaRPr lang="de-DE"/>
          </a:p>
        </p:txBody>
      </p:sp>
    </p:spTree>
    <p:extLst>
      <p:ext uri="{BB962C8B-B14F-4D97-AF65-F5344CB8AC3E}">
        <p14:creationId xmlns:p14="http://schemas.microsoft.com/office/powerpoint/2010/main" val="2779223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Foliennummernplatzhalter 3"/>
          <p:cNvSpPr txBox="1">
            <a:spLocks noGrp="1"/>
          </p:cNvSpPr>
          <p:nvPr/>
        </p:nvSpPr>
        <p:spPr bwMode="auto">
          <a:xfrm>
            <a:off x="4008438" y="9721851"/>
            <a:ext cx="3062287" cy="512763"/>
          </a:xfrm>
          <a:prstGeom prst="rect">
            <a:avLst/>
          </a:prstGeom>
          <a:noFill/>
          <a:ln w="9525">
            <a:noFill/>
            <a:miter lim="800000"/>
            <a:headEnd/>
            <a:tailEnd/>
          </a:ln>
        </p:spPr>
        <p:txBody>
          <a:bodyPr lIns="94682" tIns="47341" rIns="94682" bIns="47341" anchor="b"/>
          <a:lstStyle/>
          <a:p>
            <a:pPr marL="0" marR="0" lvl="0" indent="0" algn="r" defTabSz="912758" rtl="0" eaLnBrk="1" fontAlgn="auto" latinLnBrk="0" hangingPunct="1">
              <a:lnSpc>
                <a:spcPct val="100000"/>
              </a:lnSpc>
              <a:spcBef>
                <a:spcPts val="0"/>
              </a:spcBef>
              <a:spcAft>
                <a:spcPts val="0"/>
              </a:spcAft>
              <a:buClrTx/>
              <a:buSzTx/>
              <a:buFontTx/>
              <a:buNone/>
              <a:tabLst/>
              <a:defRPr/>
            </a:pPr>
            <a:fld id="{7C6B3810-ED43-46E4-A3B6-3845E5C51DA7}" type="slidenum">
              <a:rPr kumimoji="0" lang="de-DE" sz="1200" b="0" i="0" u="none" strike="noStrike" kern="1200" cap="none" spc="0" normalizeH="0" baseline="0" noProof="0">
                <a:ln>
                  <a:noFill/>
                </a:ln>
                <a:solidFill>
                  <a:prstClr val="black"/>
                </a:solidFill>
                <a:effectLst/>
                <a:uLnTx/>
                <a:uFillTx/>
                <a:latin typeface="Arial"/>
                <a:ea typeface="+mn-ea"/>
                <a:cs typeface="Arial"/>
                <a:sym typeface="Arial"/>
              </a:rPr>
              <a:pPr marL="0" marR="0" lvl="0" indent="0" algn="r" defTabSz="912758"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Arial"/>
              <a:ea typeface="+mn-ea"/>
              <a:cs typeface="Arial"/>
              <a:sym typeface="Arial"/>
            </a:endParaRPr>
          </a:p>
        </p:txBody>
      </p:sp>
      <p:sp>
        <p:nvSpPr>
          <p:cNvPr id="5" name="Notizenplatzhalter 8"/>
          <p:cNvSpPr txBox="1">
            <a:spLocks/>
          </p:cNvSpPr>
          <p:nvPr/>
        </p:nvSpPr>
        <p:spPr>
          <a:xfrm>
            <a:off x="684000" y="3888000"/>
            <a:ext cx="5133474" cy="415498"/>
          </a:xfrm>
          <a:prstGeom prst="rect">
            <a:avLst/>
          </a:prstGeom>
        </p:spPr>
        <p:txBody>
          <a:bodyPr vert="horz" wrap="square" lIns="0" tIns="0" rIns="0" bIns="0" rtlCol="0">
            <a:spAutoFit/>
          </a:bodyPr>
          <a:lstStyle>
            <a:lvl1pPr marL="0" algn="l" defTabSz="914400" rtl="0" eaLnBrk="1" latinLnBrk="0" hangingPunct="1">
              <a:spcBef>
                <a:spcPts val="900"/>
              </a:spcBef>
              <a:defRPr sz="1050" kern="1200">
                <a:solidFill>
                  <a:schemeClr val="tx1"/>
                </a:solidFill>
                <a:latin typeface="Arial"/>
                <a:ea typeface="+mn-ea"/>
                <a:cs typeface="Arial"/>
                <a:sym typeface="Arial"/>
              </a:defRPr>
            </a:lvl1pPr>
            <a:lvl2pPr marL="457200" algn="l" defTabSz="914400" rtl="0" eaLnBrk="1" latinLnBrk="0" hangingPunct="1">
              <a:spcBef>
                <a:spcPts val="900"/>
              </a:spcBef>
              <a:defRPr sz="1050" kern="1200">
                <a:solidFill>
                  <a:schemeClr val="tx1"/>
                </a:solidFill>
                <a:latin typeface="Arial"/>
                <a:ea typeface="+mn-ea"/>
                <a:cs typeface="Arial"/>
                <a:sym typeface="Arial"/>
              </a:defRPr>
            </a:lvl2pPr>
            <a:lvl3pPr marL="914400" algn="l" defTabSz="914400" rtl="0" eaLnBrk="1" latinLnBrk="0" hangingPunct="1">
              <a:spcBef>
                <a:spcPts val="900"/>
              </a:spcBef>
              <a:defRPr sz="1050" kern="1200">
                <a:solidFill>
                  <a:schemeClr val="tx1"/>
                </a:solidFill>
                <a:latin typeface="Arial"/>
                <a:ea typeface="+mn-ea"/>
                <a:cs typeface="Arial"/>
                <a:sym typeface="Arial"/>
              </a:defRPr>
            </a:lvl3pPr>
            <a:lvl4pPr marL="1371600" algn="l" defTabSz="914400" rtl="0" eaLnBrk="1" latinLnBrk="0" hangingPunct="1">
              <a:spcBef>
                <a:spcPts val="900"/>
              </a:spcBef>
              <a:defRPr sz="1050" kern="1200">
                <a:solidFill>
                  <a:schemeClr val="tx1"/>
                </a:solidFill>
                <a:latin typeface="Arial"/>
                <a:ea typeface="+mn-ea"/>
                <a:cs typeface="Arial"/>
                <a:sym typeface="Arial"/>
              </a:defRPr>
            </a:lvl4pPr>
            <a:lvl5pPr marL="1828800" algn="l" defTabSz="914400" rtl="0" eaLnBrk="1" latinLnBrk="0" hangingPunct="1">
              <a:spcBef>
                <a:spcPts val="900"/>
              </a:spcBef>
              <a:defRPr sz="1050" kern="1200">
                <a:solidFill>
                  <a:schemeClr val="tx1"/>
                </a:solidFill>
                <a:latin typeface="Arial"/>
                <a:ea typeface="+mn-ea"/>
                <a:cs typeface="Arial"/>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900" b="0" i="1" u="none" strike="noStrike" kern="1200" cap="none" spc="0" normalizeH="0" baseline="0" noProof="0" dirty="0" err="1">
                <a:ln>
                  <a:noFill/>
                </a:ln>
                <a:solidFill>
                  <a:prstClr val="black"/>
                </a:solidFill>
                <a:effectLst/>
                <a:uLnTx/>
                <a:uFillTx/>
                <a:latin typeface="Arial"/>
                <a:ea typeface="+mn-ea"/>
                <a:cs typeface="Arial"/>
                <a:sym typeface="Arial"/>
              </a:rPr>
              <a:t>Foto</a:t>
            </a:r>
            <a:r>
              <a:rPr kumimoji="0" lang="en-US" sz="900" b="0" i="1" u="none" strike="noStrike" kern="1200" cap="none" spc="0" normalizeH="0" baseline="0" noProof="0" dirty="0">
                <a:ln>
                  <a:noFill/>
                </a:ln>
                <a:solidFill>
                  <a:prstClr val="black"/>
                </a:solidFill>
                <a:effectLst/>
                <a:uLnTx/>
                <a:uFillTx/>
                <a:latin typeface="Arial"/>
                <a:ea typeface="+mn-ea"/>
                <a:cs typeface="Arial"/>
                <a:sym typeface="Arial"/>
              </a:rPr>
              <a:t>: </a:t>
            </a:r>
            <a:r>
              <a:rPr kumimoji="0" lang="de-DE" sz="900" b="0" i="1" u="none" strike="noStrike" kern="1200" cap="none" spc="0" normalizeH="0" baseline="0" noProof="0" dirty="0">
                <a:ln>
                  <a:noFill/>
                </a:ln>
                <a:solidFill>
                  <a:srgbClr val="000000"/>
                </a:solidFill>
                <a:effectLst/>
                <a:uLnTx/>
                <a:uFillTx/>
                <a:latin typeface="Arial"/>
                <a:ea typeface="+mn-ea"/>
                <a:cs typeface="Arial"/>
                <a:sym typeface="Arial"/>
              </a:rPr>
              <a:t>Eine Chemikerin testet die Druckfestigkeit eines Musterstücks aus elastischem Polyurethan-Schaum mit Hilfe einer Zwick Prüfmaschine. Ziel dabei ist es, die Druckfestigkeit des Materials zu erhöhen und gleichzeitig die Materialdichte zu verringern.</a:t>
            </a:r>
          </a:p>
        </p:txBody>
      </p:sp>
      <p:sp>
        <p:nvSpPr>
          <p:cNvPr id="4" name="Folienbildplatzhalter 3"/>
          <p:cNvSpPr>
            <a:spLocks noGrp="1" noRot="1" noChangeAspect="1"/>
          </p:cNvSpPr>
          <p:nvPr>
            <p:ph type="sldImg"/>
          </p:nvPr>
        </p:nvSpPr>
        <p:spPr>
          <a:xfrm>
            <a:off x="682625" y="744538"/>
            <a:ext cx="5454650" cy="3070225"/>
          </a:xfrm>
        </p:spPr>
      </p:sp>
      <p:sp>
        <p:nvSpPr>
          <p:cNvPr id="6" name="Notizenplatzhalter 5"/>
          <p:cNvSpPr>
            <a:spLocks noGrp="1"/>
          </p:cNvSpPr>
          <p:nvPr>
            <p:ph type="body" idx="1"/>
          </p:nvPr>
        </p:nvSpPr>
        <p:spPr>
          <a:xfrm>
            <a:off x="684000" y="4569656"/>
            <a:ext cx="5455920" cy="4644516"/>
          </a:xfrm>
        </p:spPr>
        <p:txBody>
          <a:bodyPr/>
          <a:lstStyle/>
          <a:p>
            <a:endParaRPr lang="de-DE"/>
          </a:p>
        </p:txBody>
      </p:sp>
    </p:spTree>
    <p:extLst>
      <p:ext uri="{BB962C8B-B14F-4D97-AF65-F5344CB8AC3E}">
        <p14:creationId xmlns:p14="http://schemas.microsoft.com/office/powerpoint/2010/main" val="4024325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41BA24-7F71-4152-ADA6-F68FF3747F4C}" type="slidenum">
              <a:rPr kumimoji="0" lang="de-DE"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7" name="Notizenplatzhalter 6"/>
          <p:cNvSpPr>
            <a:spLocks noGrp="1"/>
          </p:cNvSpPr>
          <p:nvPr>
            <p:ph type="body" idx="1"/>
          </p:nvPr>
        </p:nvSpPr>
        <p:spPr/>
        <p:txBody>
          <a:bodyPr/>
          <a:lstStyle/>
          <a:p>
            <a:r>
              <a:rPr lang="en-US" dirty="0"/>
              <a:t>Anthropogenic climate change is one of the main challenges society is facing. Business, science, politics and society need to combine forces in tackling climate change and using resources more efficiently. BASF is committed to economically efficient and ecologically effective global climate protection. Energy efficiency is the key to combining climate protection, conservation of resources and economic advantages.</a:t>
            </a:r>
          </a:p>
          <a:p>
            <a:r>
              <a:rPr lang="en-US" sz="900" i="1" dirty="0"/>
              <a:t>Source: basf.com/</a:t>
            </a:r>
            <a:r>
              <a:rPr lang="en-US" sz="900" i="1" dirty="0" err="1"/>
              <a:t>climate_protection</a:t>
            </a:r>
            <a:r>
              <a:rPr lang="en-US" sz="900" i="1" dirty="0"/>
              <a:t>.</a:t>
            </a:r>
          </a:p>
        </p:txBody>
      </p:sp>
      <p:sp>
        <p:nvSpPr>
          <p:cNvPr id="4" name="Folienbildplatzhalter 3"/>
          <p:cNvSpPr>
            <a:spLocks noGrp="1" noRot="1" noChangeAspect="1"/>
          </p:cNvSpPr>
          <p:nvPr>
            <p:ph type="sldImg"/>
          </p:nvPr>
        </p:nvSpPr>
        <p:spPr>
          <a:xfrm>
            <a:off x="682625" y="744538"/>
            <a:ext cx="5454650" cy="3070225"/>
          </a:xfrm>
        </p:spPr>
      </p:sp>
    </p:spTree>
    <p:extLst>
      <p:ext uri="{BB962C8B-B14F-4D97-AF65-F5344CB8AC3E}">
        <p14:creationId xmlns:p14="http://schemas.microsoft.com/office/powerpoint/2010/main" val="26151886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p:txBody>
          <a:bodyPr/>
          <a:lstStyle>
            <a:lvl1pPr eaLnBrk="0" hangingPunct="0">
              <a:defRPr>
                <a:solidFill>
                  <a:schemeClr val="tx1"/>
                </a:solidFill>
                <a:latin typeface="Arial" charset="0"/>
                <a:cs typeface="Arial" charset="0"/>
              </a:defRPr>
            </a:lvl1pPr>
            <a:lvl2pPr marL="716704" indent="-275656" eaLnBrk="0" hangingPunct="0">
              <a:defRPr>
                <a:solidFill>
                  <a:schemeClr val="tx1"/>
                </a:solidFill>
                <a:latin typeface="Arial" charset="0"/>
                <a:cs typeface="Arial" charset="0"/>
              </a:defRPr>
            </a:lvl2pPr>
            <a:lvl3pPr marL="1102623" indent="-220525" eaLnBrk="0" hangingPunct="0">
              <a:defRPr>
                <a:solidFill>
                  <a:schemeClr val="tx1"/>
                </a:solidFill>
                <a:latin typeface="Arial" charset="0"/>
                <a:cs typeface="Arial" charset="0"/>
              </a:defRPr>
            </a:lvl3pPr>
            <a:lvl4pPr marL="1543673" indent="-220525" eaLnBrk="0" hangingPunct="0">
              <a:defRPr>
                <a:solidFill>
                  <a:schemeClr val="tx1"/>
                </a:solidFill>
                <a:latin typeface="Arial" charset="0"/>
                <a:cs typeface="Arial" charset="0"/>
              </a:defRPr>
            </a:lvl4pPr>
            <a:lvl5pPr marL="1984721" indent="-220525" eaLnBrk="0" hangingPunct="0">
              <a:defRPr>
                <a:solidFill>
                  <a:schemeClr val="tx1"/>
                </a:solidFill>
                <a:latin typeface="Arial" charset="0"/>
                <a:cs typeface="Arial" charset="0"/>
              </a:defRPr>
            </a:lvl5pPr>
            <a:lvl6pPr marL="2425771" indent="-220525" eaLnBrk="0" fontAlgn="base" hangingPunct="0">
              <a:spcBef>
                <a:spcPct val="0"/>
              </a:spcBef>
              <a:spcAft>
                <a:spcPct val="0"/>
              </a:spcAft>
              <a:defRPr>
                <a:solidFill>
                  <a:schemeClr val="tx1"/>
                </a:solidFill>
                <a:latin typeface="Arial" charset="0"/>
                <a:cs typeface="Arial" charset="0"/>
              </a:defRPr>
            </a:lvl6pPr>
            <a:lvl7pPr marL="2866819" indent="-220525" eaLnBrk="0" fontAlgn="base" hangingPunct="0">
              <a:spcBef>
                <a:spcPct val="0"/>
              </a:spcBef>
              <a:spcAft>
                <a:spcPct val="0"/>
              </a:spcAft>
              <a:defRPr>
                <a:solidFill>
                  <a:schemeClr val="tx1"/>
                </a:solidFill>
                <a:latin typeface="Arial" charset="0"/>
                <a:cs typeface="Arial" charset="0"/>
              </a:defRPr>
            </a:lvl7pPr>
            <a:lvl8pPr marL="3307870" indent="-220525" eaLnBrk="0" fontAlgn="base" hangingPunct="0">
              <a:spcBef>
                <a:spcPct val="0"/>
              </a:spcBef>
              <a:spcAft>
                <a:spcPct val="0"/>
              </a:spcAft>
              <a:defRPr>
                <a:solidFill>
                  <a:schemeClr val="tx1"/>
                </a:solidFill>
                <a:latin typeface="Arial" charset="0"/>
                <a:cs typeface="Arial" charset="0"/>
              </a:defRPr>
            </a:lvl8pPr>
            <a:lvl9pPr marL="3748919" indent="-220525" eaLnBrk="0" fontAlgn="base" hangingPunct="0">
              <a:spcBef>
                <a:spcPct val="0"/>
              </a:spcBef>
              <a:spcAft>
                <a:spcPct val="0"/>
              </a:spcAft>
              <a:defRPr>
                <a:solidFill>
                  <a:schemeClr val="tx1"/>
                </a:solidFill>
                <a:latin typeface="Arial" charset="0"/>
                <a:cs typeface="Arial" charset="0"/>
              </a:defRPr>
            </a:lvl9pPr>
          </a:lstStyle>
          <a:p>
            <a:fld id="{D7CAA07E-9914-441A-A556-67377766EE5B}" type="slidenum">
              <a:rPr lang="de-DE" smtClean="0"/>
              <a:pPr/>
              <a:t>9</a:t>
            </a:fld>
            <a:endParaRPr lang="de-DE"/>
          </a:p>
        </p:txBody>
      </p:sp>
      <p:sp>
        <p:nvSpPr>
          <p:cNvPr id="4" name="Notizenplatzhalter 3"/>
          <p:cNvSpPr>
            <a:spLocks noGrp="1"/>
          </p:cNvSpPr>
          <p:nvPr>
            <p:ph type="body" idx="1"/>
          </p:nvPr>
        </p:nvSpPr>
        <p:spPr/>
        <p:txBody>
          <a:bodyPr/>
          <a:lstStyle/>
          <a:p>
            <a:pPr defTabSz="882152">
              <a:defRPr/>
            </a:pPr>
            <a:r>
              <a:rPr lang="en-US" dirty="0">
                <a:solidFill>
                  <a:prstClr val="black"/>
                </a:solidFill>
              </a:rPr>
              <a:t>This slide gives an overview of the ambitious </a:t>
            </a:r>
            <a:r>
              <a:rPr lang="en-US" b="1" dirty="0">
                <a:solidFill>
                  <a:prstClr val="black"/>
                </a:solidFill>
              </a:rPr>
              <a:t>environment, health and safety </a:t>
            </a:r>
            <a:r>
              <a:rPr lang="en-US" dirty="0">
                <a:solidFill>
                  <a:prstClr val="black"/>
                </a:solidFill>
              </a:rPr>
              <a:t>goals we have set for ourselves. </a:t>
            </a:r>
          </a:p>
          <a:p>
            <a:pPr defTabSz="882152">
              <a:defRPr/>
            </a:pPr>
            <a:r>
              <a:rPr lang="en-US" dirty="0">
                <a:solidFill>
                  <a:prstClr val="black"/>
                </a:solidFill>
              </a:rPr>
              <a:t>Climate protection is one of the most important environmental goals. Therefore we are committed to energy efficiency and global climate protection along the value chain. </a:t>
            </a:r>
            <a:r>
              <a:rPr lang="en-US" dirty="0"/>
              <a:t>We aim to reduce our greenhouse gas emissions per metric ton of sales product by 40% by 2020, compared with baseline 2002. </a:t>
            </a:r>
            <a:endParaRPr lang="en-US" dirty="0">
              <a:solidFill>
                <a:prstClr val="black"/>
              </a:solidFill>
            </a:endParaRPr>
          </a:p>
          <a:p>
            <a:pPr defTabSz="882152">
              <a:defRPr/>
            </a:pPr>
            <a:r>
              <a:rPr lang="en-US" dirty="0"/>
              <a:t>We set ourselves a new energy efficiency goal in 2015 covering both the chemicals and the oil and gas businesses. By 2020, we want to have introduced certified energy management systems (DIN EN ISO 50001) at all relevant production sites. Taken together, this represents 90% of BASF’s primary energy demand. </a:t>
            </a:r>
          </a:p>
          <a:p>
            <a:pPr defTabSz="882152">
              <a:defRPr/>
            </a:pPr>
            <a:r>
              <a:rPr lang="en-US" dirty="0"/>
              <a:t>We measure our performance in health protection using the Health Performance Index (HPI). The HPI comprises five components: confirmed occupational diseases, medical emergency drills, first aid training, preventive medicine and health promotion. Each component contributes a maximum of 0.2 to the total score. The highest possible score is 1.0. Our goal is to reach a value of more than 0.9 every year.</a:t>
            </a:r>
          </a:p>
          <a:p>
            <a:pPr defTabSz="882152">
              <a:spcBef>
                <a:spcPts val="0"/>
              </a:spcBef>
              <a:defRPr/>
            </a:pPr>
            <a:endParaRPr lang="en-US" dirty="0"/>
          </a:p>
          <a:p>
            <a:pPr defTabSz="882152">
              <a:spcBef>
                <a:spcPts val="0"/>
              </a:spcBef>
              <a:defRPr/>
            </a:pPr>
            <a:r>
              <a:rPr lang="en-US" dirty="0"/>
              <a:t>We have made it our goal to reduce the worldwide lost-time injury rate per one million working hours to 0.5 at most by 2025. To this end, we promote risk-conscious behavior and safe working practices for every individual, particularly through regular communication, systematic risk assessments, specific qualification</a:t>
            </a:r>
          </a:p>
          <a:p>
            <a:pPr defTabSz="882152">
              <a:spcBef>
                <a:spcPts val="0"/>
              </a:spcBef>
              <a:defRPr/>
            </a:pPr>
            <a:r>
              <a:rPr lang="en-US" dirty="0"/>
              <a:t>measures and our worldwide safety initiatives. We set ourselves the goal of reducing the rate of process safety incidents to a rate of no more than 0.5 per one million working hours by 2025. To this end, we continued our worldwide initiative focusing on plant maintenance, repair and operation. </a:t>
            </a:r>
          </a:p>
          <a:p>
            <a:pPr defTabSz="882152">
              <a:spcBef>
                <a:spcPts val="0"/>
              </a:spcBef>
              <a:defRPr/>
            </a:pPr>
            <a:endParaRPr lang="en-US" dirty="0"/>
          </a:p>
          <a:p>
            <a:pPr defTabSz="882152">
              <a:spcBef>
                <a:spcPts val="0"/>
              </a:spcBef>
              <a:defRPr/>
            </a:pPr>
            <a:endParaRPr lang="en-US" sz="800" i="1" dirty="0">
              <a:solidFill>
                <a:srgbClr val="FF0000"/>
              </a:solidFill>
              <a:uFill>
                <a:solidFill>
                  <a:srgbClr val="FFFF00"/>
                </a:solidFill>
              </a:uFill>
            </a:endParaRPr>
          </a:p>
          <a:p>
            <a:pPr defTabSz="882152">
              <a:spcBef>
                <a:spcPts val="0"/>
              </a:spcBef>
              <a:defRPr/>
            </a:pPr>
            <a:r>
              <a:rPr lang="en-US" sz="800" i="1" dirty="0">
                <a:solidFill>
                  <a:prstClr val="black"/>
                </a:solidFill>
              </a:rPr>
              <a:t>Source: BASF Report 2016, pages 29, 100-101, 105-106.</a:t>
            </a:r>
          </a:p>
        </p:txBody>
      </p:sp>
      <p:sp>
        <p:nvSpPr>
          <p:cNvPr id="7" name="Folienbildplatzhalter 6"/>
          <p:cNvSpPr>
            <a:spLocks noGrp="1" noRot="1" noChangeAspect="1"/>
          </p:cNvSpPr>
          <p:nvPr>
            <p:ph type="sldImg"/>
          </p:nvPr>
        </p:nvSpPr>
        <p:spPr>
          <a:xfrm>
            <a:off x="682625" y="744538"/>
            <a:ext cx="5454650" cy="3070225"/>
          </a:xfrm>
        </p:spPr>
      </p:sp>
    </p:spTree>
    <p:extLst>
      <p:ext uri="{BB962C8B-B14F-4D97-AF65-F5344CB8AC3E}">
        <p14:creationId xmlns:p14="http://schemas.microsoft.com/office/powerpoint/2010/main" val="3505369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fld id="{11CDE2E4-6465-43C0-B135-E74B90780C13}" type="slidenum">
              <a:rPr lang="de-DE" smtClean="0"/>
              <a:pPr/>
              <a:t>19</a:t>
            </a:fld>
            <a:endParaRPr lang="de-DE"/>
          </a:p>
        </p:txBody>
      </p:sp>
      <p:sp>
        <p:nvSpPr>
          <p:cNvPr id="4" name="Folienbildplatzhalter 3"/>
          <p:cNvSpPr>
            <a:spLocks noGrp="1" noRot="1" noChangeAspect="1"/>
          </p:cNvSpPr>
          <p:nvPr>
            <p:ph type="sldImg"/>
          </p:nvPr>
        </p:nvSpPr>
        <p:spPr>
          <a:xfrm>
            <a:off x="682625" y="744538"/>
            <a:ext cx="5454650" cy="3070225"/>
          </a:xfrm>
        </p:spPr>
      </p:sp>
      <p:sp>
        <p:nvSpPr>
          <p:cNvPr id="5" name="Notizenplatzhalter 4"/>
          <p:cNvSpPr>
            <a:spLocks noGrp="1"/>
          </p:cNvSpPr>
          <p:nvPr>
            <p:ph type="body" idx="1"/>
          </p:nvPr>
        </p:nvSpPr>
        <p:spPr/>
        <p:txBody>
          <a:bodyPr/>
          <a:lstStyle/>
          <a:p>
            <a:endParaRPr lang="de-DE"/>
          </a:p>
        </p:txBody>
      </p:sp>
    </p:spTree>
    <p:extLst>
      <p:ext uri="{BB962C8B-B14F-4D97-AF65-F5344CB8AC3E}">
        <p14:creationId xmlns:p14="http://schemas.microsoft.com/office/powerpoint/2010/main" val="32249124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7.xml"/><Relationship Id="rId7"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8.v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2.xml"/><Relationship Id="rId7" Type="http://schemas.openxmlformats.org/officeDocument/2006/relationships/image" Target="../media/image8.emf"/><Relationship Id="rId2" Type="http://schemas.openxmlformats.org/officeDocument/2006/relationships/tags" Target="../tags/tag6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4.xml"/><Relationship Id="rId4" Type="http://schemas.openxmlformats.org/officeDocument/2006/relationships/tags" Target="../tags/tag63.xml"/><Relationship Id="rId9"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5.xml"/><Relationship Id="rId7" Type="http://schemas.openxmlformats.org/officeDocument/2006/relationships/image" Target="../media/image8.emf"/><Relationship Id="rId2" Type="http://schemas.openxmlformats.org/officeDocument/2006/relationships/tags" Target="../tags/tag6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66.xml"/><Relationship Id="rId9"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slideMaster" Target="../slideMasters/slideMaster6.xml"/><Relationship Id="rId4" Type="http://schemas.openxmlformats.org/officeDocument/2006/relationships/tags" Target="../tags/tag8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slideMaster" Target="../slideMasters/slideMaster6.xml"/><Relationship Id="rId5" Type="http://schemas.openxmlformats.org/officeDocument/2006/relationships/tags" Target="../tags/tag87.xml"/><Relationship Id="rId4" Type="http://schemas.openxmlformats.org/officeDocument/2006/relationships/tags" Target="../tags/tag8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ags" Target="../tags/tag88.xml"/><Relationship Id="rId4"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xml"/><Relationship Id="rId7" Type="http://schemas.openxmlformats.org/officeDocument/2006/relationships/oleObject" Target="../embeddings/oleObject1.bin"/><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slideMaster" Target="../slideMasters/slideMaster2.xml"/><Relationship Id="rId4" Type="http://schemas.openxmlformats.org/officeDocument/2006/relationships/tags" Target="../tags/tag2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2.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vmlDrawing" Target="../drawings/vmlDrawing2.vml"/><Relationship Id="rId1" Type="http://schemas.openxmlformats.org/officeDocument/2006/relationships/themeOverride" Target="../theme/themeOverride1.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9.xml"/><Relationship Id="rId7" Type="http://schemas.openxmlformats.org/officeDocument/2006/relationships/oleObject" Target="../embeddings/oleObject4.bin"/><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slideMaster" Target="../slideMasters/slideMaster3.xml"/><Relationship Id="rId5" Type="http://schemas.openxmlformats.org/officeDocument/2006/relationships/tags" Target="../tags/tag41.xml"/><Relationship Id="rId4" Type="http://schemas.openxmlformats.org/officeDocument/2006/relationships/tags" Target="../tags/tag40.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3.xml"/><Relationship Id="rId7"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5.v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2196000" y="4896000"/>
            <a:ext cx="9756775" cy="954000"/>
          </a:xfrm>
          <a:prstGeom prst="rect">
            <a:avLst/>
          </a:prstGeom>
        </p:spPr>
        <p:txBody>
          <a:bodyPr lIns="0" tIns="0" rIns="0" bIns="0" anchor="b">
            <a:normAutofit/>
          </a:bodyPr>
          <a:lstStyle>
            <a:lvl1pPr algn="l">
              <a:lnSpc>
                <a:spcPct val="95000"/>
              </a:lnSpc>
              <a:spcBef>
                <a:spcPts val="0"/>
              </a:spcBef>
              <a:spcAft>
                <a:spcPts val="0"/>
              </a:spcAft>
              <a:defRPr sz="3200" b="1" i="0">
                <a:solidFill>
                  <a:schemeClr val="accent1"/>
                </a:solidFill>
                <a:latin typeface="Arial"/>
              </a:defRPr>
            </a:lvl1pPr>
          </a:lstStyle>
          <a:p>
            <a:r>
              <a:rPr lang="de-DE"/>
              <a:t>Titelmasterformat durch Klicken bearbeiten</a:t>
            </a:r>
          </a:p>
        </p:txBody>
      </p:sp>
      <p:sp>
        <p:nvSpPr>
          <p:cNvPr id="3" name="TextPlaz"/>
          <p:cNvSpPr>
            <a:spLocks noGrp="1"/>
          </p:cNvSpPr>
          <p:nvPr>
            <p:ph type="subTitle" idx="1"/>
          </p:nvPr>
        </p:nvSpPr>
        <p:spPr>
          <a:xfrm>
            <a:off x="2196000" y="6048000"/>
            <a:ext cx="9756775" cy="432000"/>
          </a:xfrm>
          <a:prstGeom prst="rect">
            <a:avLst/>
          </a:prstGeom>
        </p:spPr>
        <p:txBody>
          <a:bodyPr lIns="0" tIns="0" rIns="0" bIns="0" anchor="b"/>
          <a:lstStyle>
            <a:lvl1pPr marL="0" indent="0" algn="l">
              <a:lnSpc>
                <a:spcPct val="95000"/>
              </a:lnSpc>
              <a:spcBef>
                <a:spcPts val="600"/>
              </a:spcBef>
              <a:spcAft>
                <a:spcPts val="0"/>
              </a:spcAft>
              <a:buNone/>
              <a:defRPr sz="1800" b="0" i="0">
                <a:solidFill>
                  <a:schemeClr val="accent6"/>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6" name="SeitePlaz"/>
          <p:cNvSpPr>
            <a:spLocks noGrp="1"/>
          </p:cNvSpPr>
          <p:nvPr>
            <p:ph type="sldNum" sz="quarter" idx="12"/>
          </p:nvPr>
        </p:nvSpPr>
        <p:spPr>
          <a:xfrm>
            <a:off x="10995640" y="6645600"/>
            <a:ext cx="959875" cy="151200"/>
          </a:xfrm>
        </p:spPr>
        <p:txBody>
          <a:bodyPr lIns="0" tIns="0" rIns="0" bIns="0" anchor="b"/>
          <a:lstStyle>
            <a:lvl1pPr algn="r">
              <a:lnSpc>
                <a:spcPct val="100000"/>
              </a:lnSpc>
              <a:spcBef>
                <a:spcPct val="110000"/>
              </a:spcBef>
              <a:spcAft>
                <a:spcPct val="110000"/>
              </a:spcAft>
              <a:defRPr sz="800" b="0" i="0">
                <a:latin typeface="Arial"/>
              </a:defRPr>
            </a:lvl1pPr>
          </a:lstStyle>
          <a:p>
            <a:fld id="{3CE899F9-3946-41BC-AB25-3619C98F7D67}" type="slidenum">
              <a:rPr lang="de-DE" smtClean="0"/>
              <a:pPr/>
              <a:t>‹Nº›</a:t>
            </a:fld>
            <a:endParaRPr lang="de-DE" dirty="0"/>
          </a:p>
        </p:txBody>
      </p:sp>
      <p:sp>
        <p:nvSpPr>
          <p:cNvPr id="5" name="FussPlaz"/>
          <p:cNvSpPr>
            <a:spLocks noGrp="1"/>
          </p:cNvSpPr>
          <p:nvPr>
            <p:ph type="ftr" sz="quarter" idx="11"/>
          </p:nvPr>
        </p:nvSpPr>
        <p:spPr>
          <a:xfrm>
            <a:off x="5809070" y="6630134"/>
            <a:ext cx="572273" cy="184666"/>
          </a:xfrm>
        </p:spPr>
        <p:txBody>
          <a:bodyPr wrap="none" lIns="0" tIns="0" rIns="0" bIns="0" anchor="b"/>
          <a:lstStyle>
            <a:lvl1pPr algn="ctr">
              <a:lnSpc>
                <a:spcPct val="100000"/>
              </a:lnSpc>
              <a:spcBef>
                <a:spcPct val="110000"/>
              </a:spcBef>
              <a:spcAft>
                <a:spcPct val="110000"/>
              </a:spcAft>
              <a:defRPr sz="1200" b="0" i="0">
                <a:latin typeface="Arial"/>
              </a:defRPr>
            </a:lvl1pPr>
          </a:lstStyle>
          <a:p>
            <a:endParaRPr lang="de-DE"/>
          </a:p>
        </p:txBody>
      </p:sp>
      <p:sp>
        <p:nvSpPr>
          <p:cNvPr id="4" name="DatumPlaz"/>
          <p:cNvSpPr>
            <a:spLocks noGrp="1"/>
          </p:cNvSpPr>
          <p:nvPr>
            <p:ph type="dt" sz="half" idx="10"/>
          </p:nvPr>
        </p:nvSpPr>
        <p:spPr>
          <a:xfrm>
            <a:off x="2206625" y="6645600"/>
            <a:ext cx="959875" cy="151200"/>
          </a:xfrm>
        </p:spPr>
        <p:txBody>
          <a:bodyPr lIns="0" tIns="0" rIns="0" bIns="0" anchor="b"/>
          <a:lstStyle>
            <a:lvl1pPr algn="l">
              <a:lnSpc>
                <a:spcPct val="100000"/>
              </a:lnSpc>
              <a:spcBef>
                <a:spcPct val="110000"/>
              </a:spcBef>
              <a:spcAft>
                <a:spcPct val="110000"/>
              </a:spcAft>
              <a:defRPr sz="800" b="0" i="0">
                <a:latin typeface="Arial"/>
              </a:defRPr>
            </a:lvl1pPr>
          </a:lstStyle>
          <a:p>
            <a:fld id="{3228F203-691F-42F3-9FC9-28A22DE0A7DC}" type="datetime1">
              <a:rPr lang="de-DE" smtClean="0"/>
              <a:t>03.11.2017</a:t>
            </a:fld>
            <a:endParaRPr lang="de-DE"/>
          </a:p>
        </p:txBody>
      </p:sp>
    </p:spTree>
    <p:extLst>
      <p:ext uri="{BB962C8B-B14F-4D97-AF65-F5344CB8AC3E}">
        <p14:creationId xmlns:p14="http://schemas.microsoft.com/office/powerpoint/2010/main" val="2544222643"/>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userDrawn="1">
            <p:custDataLst>
              <p:tags r:id="rId2"/>
            </p:custDataLst>
            <p:extLst/>
          </p:nvPr>
        </p:nvGraphicFramePr>
        <p:xfrm>
          <a:off x="1535" y="1145"/>
          <a:ext cx="1533" cy="1145"/>
        </p:xfrm>
        <a:graphic>
          <a:graphicData uri="http://schemas.openxmlformats.org/presentationml/2006/ole">
            <mc:AlternateContent xmlns:mc="http://schemas.openxmlformats.org/markup-compatibility/2006">
              <mc:Choice xmlns:v="urn:schemas-microsoft-com:vml" Requires="v">
                <p:oleObj spid="_x0000_s50207" name="Slide do think-cell" r:id="rId4" imgW="270" imgH="270" progId="TCLayout.ActiveDocument.1">
                  <p:embed/>
                </p:oleObj>
              </mc:Choice>
              <mc:Fallback>
                <p:oleObj name="Slide do think-cell" r:id="rId4" imgW="270" imgH="270" progId="TCLayout.ActiveDocument.1">
                  <p:embed/>
                  <p:pic>
                    <p:nvPicPr>
                      <p:cNvPr id="7" name="Objeto 6" hidden="1"/>
                      <p:cNvPicPr/>
                      <p:nvPr/>
                    </p:nvPicPr>
                    <p:blipFill>
                      <a:blip r:embed="rId5"/>
                      <a:stretch>
                        <a:fillRect/>
                      </a:stretch>
                    </p:blipFill>
                    <p:spPr>
                      <a:xfrm>
                        <a:off x="1535" y="1145"/>
                        <a:ext cx="1533" cy="1145"/>
                      </a:xfrm>
                      <a:prstGeom prst="rect">
                        <a:avLst/>
                      </a:prstGeom>
                    </p:spPr>
                  </p:pic>
                </p:oleObj>
              </mc:Fallback>
            </mc:AlternateContent>
          </a:graphicData>
        </a:graphic>
      </p:graphicFrame>
    </p:spTree>
    <p:extLst>
      <p:ext uri="{BB962C8B-B14F-4D97-AF65-F5344CB8AC3E}">
        <p14:creationId xmlns:p14="http://schemas.microsoft.com/office/powerpoint/2010/main" val="2029766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1_Nur Titel (11)">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279" name="Slide do think-cell" r:id="rId8" imgW="270" imgH="270" progId="TCLayout.ActiveDocument.1">
                  <p:embed/>
                </p:oleObj>
              </mc:Choice>
              <mc:Fallback>
                <p:oleObj name="Slide do think-cell" r:id="rId8" imgW="270" imgH="270" progId="TCLayout.ActiveDocument.1">
                  <p:embed/>
                  <p:pic>
                    <p:nvPicPr>
                      <p:cNvPr id="6" name="Objekt 5" hidden="1"/>
                      <p:cNvPicPr/>
                      <p:nvPr/>
                    </p:nvPicPr>
                    <p:blipFill>
                      <a:blip r:embed="rId9"/>
                      <a:stretch>
                        <a:fillRect/>
                      </a:stretch>
                    </p:blipFill>
                    <p:spPr>
                      <a:xfrm>
                        <a:off x="2118" y="1589"/>
                        <a:ext cx="2116" cy="1587"/>
                      </a:xfrm>
                      <a:prstGeom prst="rect">
                        <a:avLst/>
                      </a:prstGeom>
                    </p:spPr>
                  </p:pic>
                </p:oleObj>
              </mc:Fallback>
            </mc:AlternateContent>
          </a:graphicData>
        </a:graphic>
      </p:graphicFrame>
      <p:sp>
        <p:nvSpPr>
          <p:cNvPr id="2" name="TitelPlaz"/>
          <p:cNvSpPr>
            <a:spLocks noGrp="1"/>
          </p:cNvSpPr>
          <p:nvPr>
            <p:ph type="title"/>
            <p:custDataLst>
              <p:tags r:id="rId3"/>
            </p:custDataLst>
          </p:nvPr>
        </p:nvSpPr>
        <p:spPr/>
        <p:txBody>
          <a:bodyPr/>
          <a:lstStyle>
            <a:lvl1pPr>
              <a:defRPr/>
            </a:lvl1pPr>
          </a:lstStyle>
          <a:p>
            <a:r>
              <a:rPr lang="de-DE"/>
              <a:t>Titelmasterformat durch Klicken bearbeiten</a:t>
            </a:r>
          </a:p>
        </p:txBody>
      </p:sp>
      <p:sp>
        <p:nvSpPr>
          <p:cNvPr id="3" name="SeitePlaz"/>
          <p:cNvSpPr>
            <a:spLocks noGrp="1"/>
          </p:cNvSpPr>
          <p:nvPr>
            <p:ph type="sldNum" sz="quarter" idx="10"/>
            <p:custDataLst>
              <p:tags r:id="rId4"/>
            </p:custDataLst>
          </p:nvPr>
        </p:nvSpPr>
        <p:spPr/>
        <p:txBody>
          <a:bodyPr/>
          <a:lstStyle>
            <a:lvl1pPr>
              <a:defRPr/>
            </a:lvl1pPr>
          </a:lstStyle>
          <a:p>
            <a:fld id="{05C7D7BC-3A63-427C-9D7F-63F95FDD71B6}" type="slidenum">
              <a:rPr lang="de-DE" smtClean="0"/>
              <a:pPr/>
              <a:t>‹Nº›</a:t>
            </a:fld>
            <a:endParaRPr lang="de-DE"/>
          </a:p>
        </p:txBody>
      </p:sp>
      <p:sp>
        <p:nvSpPr>
          <p:cNvPr id="4" name="FussPlaz"/>
          <p:cNvSpPr>
            <a:spLocks noGrp="1"/>
          </p:cNvSpPr>
          <p:nvPr>
            <p:ph type="ftr" sz="quarter" idx="11"/>
            <p:custDataLst>
              <p:tags r:id="rId5"/>
            </p:custDataLst>
          </p:nvPr>
        </p:nvSpPr>
        <p:spPr/>
        <p:txBody>
          <a:bodyPr/>
          <a:lstStyle>
            <a:lvl1pPr>
              <a:defRPr/>
            </a:lvl1pPr>
          </a:lstStyle>
          <a:p>
            <a:endParaRPr lang="de-DE"/>
          </a:p>
        </p:txBody>
      </p:sp>
      <p:sp>
        <p:nvSpPr>
          <p:cNvPr id="5" name="DatumPlaz"/>
          <p:cNvSpPr>
            <a:spLocks noGrp="1"/>
          </p:cNvSpPr>
          <p:nvPr>
            <p:ph type="dt" sz="half" idx="12"/>
            <p:custDataLst>
              <p:tags r:id="rId6"/>
            </p:custDataLst>
          </p:nvPr>
        </p:nvSpPr>
        <p:spPr/>
        <p:txBody>
          <a:bodyPr/>
          <a:lstStyle>
            <a:lvl1pPr>
              <a:defRPr/>
            </a:lvl1pPr>
          </a:lstStyle>
          <a:p>
            <a:fld id="{93CFAC78-7F5E-48AF-9947-8D2EF5D88725}" type="datetime1">
              <a:rPr lang="en-US" smtClean="0"/>
              <a:t>11/3/2017</a:t>
            </a:fld>
            <a:endParaRPr lang="de-DE"/>
          </a:p>
        </p:txBody>
      </p:sp>
    </p:spTree>
    <p:extLst>
      <p:ext uri="{BB962C8B-B14F-4D97-AF65-F5344CB8AC3E}">
        <p14:creationId xmlns:p14="http://schemas.microsoft.com/office/powerpoint/2010/main" val="103426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graphicFrame>
        <p:nvGraphicFramePr>
          <p:cNvPr id="13" name="Objeto 1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303" name="Slide do think-cell" r:id="rId6" imgW="270" imgH="270" progId="TCLayout.ActiveDocument.1">
                  <p:embed/>
                </p:oleObj>
              </mc:Choice>
              <mc:Fallback>
                <p:oleObj name="Slide do think-cell" r:id="rId6" imgW="270" imgH="270" progId="TCLayout.ActiveDocument.1">
                  <p:embed/>
                  <p:pic>
                    <p:nvPicPr>
                      <p:cNvPr id="13" name="Objeto 12" hidden="1"/>
                      <p:cNvPicPr/>
                      <p:nvPr/>
                    </p:nvPicPr>
                    <p:blipFill>
                      <a:blip r:embed="rId7"/>
                      <a:stretch>
                        <a:fillRect/>
                      </a:stretch>
                    </p:blipFill>
                    <p:spPr>
                      <a:xfrm>
                        <a:off x="2118" y="1589"/>
                        <a:ext cx="2116" cy="1587"/>
                      </a:xfrm>
                      <a:prstGeom prst="rect">
                        <a:avLst/>
                      </a:prstGeom>
                    </p:spPr>
                  </p:pic>
                </p:oleObj>
              </mc:Fallback>
            </mc:AlternateContent>
          </a:graphicData>
        </a:graphic>
      </p:graphicFrame>
      <p:pic>
        <p:nvPicPr>
          <p:cNvPr id="17" name="Imagem 16"/>
          <p:cNvPicPr>
            <a:picLocks noChangeAspect="1"/>
          </p:cNvPicPr>
          <p:nvPr userDrawn="1"/>
        </p:nvPicPr>
        <p:blipFill>
          <a:blip r:embed="rId8"/>
          <a:stretch>
            <a:fillRect/>
          </a:stretch>
        </p:blipFill>
        <p:spPr>
          <a:xfrm>
            <a:off x="-1360" y="1"/>
            <a:ext cx="12191773" cy="6858765"/>
          </a:xfrm>
          <a:prstGeom prst="rect">
            <a:avLst/>
          </a:prstGeom>
        </p:spPr>
      </p:pic>
      <p:grpSp>
        <p:nvGrpSpPr>
          <p:cNvPr id="7" name="Grupo 6"/>
          <p:cNvGrpSpPr/>
          <p:nvPr userDrawn="1"/>
        </p:nvGrpSpPr>
        <p:grpSpPr>
          <a:xfrm>
            <a:off x="1" y="215901"/>
            <a:ext cx="12186180" cy="1217582"/>
            <a:chOff x="-1132433" y="215900"/>
            <a:chExt cx="10273258" cy="1368424"/>
          </a:xfrm>
        </p:grpSpPr>
        <p:sp>
          <p:nvSpPr>
            <p:cNvPr id="8" name="Fix/0/0,6/25,39/3,8"/>
            <p:cNvSpPr>
              <a:spLocks noChangeAspect="1" noChangeArrowheads="1"/>
            </p:cNvSpPr>
            <p:nvPr userDrawn="1">
              <p:custDataLst>
                <p:tags r:id="rId3"/>
              </p:custDataLst>
            </p:nvPr>
          </p:nvSpPr>
          <p:spPr bwMode="auto">
            <a:xfrm>
              <a:off x="-1132433" y="215900"/>
              <a:ext cx="10273258" cy="1368424"/>
            </a:xfrm>
            <a:prstGeom prst="rect">
              <a:avLst/>
            </a:prstGeom>
            <a:solidFill>
              <a:srgbClr val="004896">
                <a:alpha val="40000"/>
              </a:srgbClr>
            </a:solidFill>
            <a:ln>
              <a:noFill/>
            </a:ln>
            <a:effectLst/>
            <a:extLst/>
          </p:spPr>
          <p:txBody>
            <a:bodyPr wrap="none" anchor="ctr"/>
            <a:lstStyle/>
            <a:p>
              <a:pPr lvl="0"/>
              <a:endParaRPr lang="de-DE" sz="1800">
                <a:sym typeface="Arial"/>
              </a:endParaRPr>
            </a:p>
          </p:txBody>
        </p:sp>
        <p:pic>
          <p:nvPicPr>
            <p:cNvPr id="9" name="Fix/20,99/0,6/3,8/3,8"/>
            <p:cNvPicPr>
              <a:picLocks noChangeAspect="1" noChangeArrowheads="1"/>
            </p:cNvPicPr>
            <p:nvPr userDrawn="1">
              <p:custDataLst>
                <p:tags r:id="rId4"/>
              </p:custDataLst>
            </p:nvPr>
          </p:nvPicPr>
          <p:blipFill>
            <a:blip r:embed="rId9" cstate="print">
              <a:extLst>
                <a:ext uri="{28A0092B-C50C-407E-A947-70E740481C1C}">
                  <a14:useLocalDpi xmlns:a14="http://schemas.microsoft.com/office/drawing/2010/main" val="0"/>
                </a:ext>
              </a:extLst>
            </a:blip>
            <a:stretch>
              <a:fillRect/>
            </a:stretch>
          </p:blipFill>
          <p:spPr bwMode="auto">
            <a:xfrm>
              <a:off x="7556500" y="217058"/>
              <a:ext cx="1368425" cy="1366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 name="Espaço Reservado para Texto 14"/>
          <p:cNvSpPr>
            <a:spLocks noGrp="1"/>
          </p:cNvSpPr>
          <p:nvPr>
            <p:ph type="body" sz="quarter" idx="13" hasCustomPrompt="1"/>
          </p:nvPr>
        </p:nvSpPr>
        <p:spPr>
          <a:xfrm>
            <a:off x="249735" y="567756"/>
            <a:ext cx="9113180" cy="556989"/>
          </a:xfrm>
        </p:spPr>
        <p:txBody>
          <a:bodyPr anchor="ctr"/>
          <a:lstStyle>
            <a:lvl1pPr marL="0" indent="0">
              <a:buNone/>
              <a:defRPr lang="en-US" sz="3200" b="1" dirty="0">
                <a:solidFill>
                  <a:schemeClr val="bg2"/>
                </a:solidFill>
                <a:latin typeface="+mj-lt"/>
                <a:ea typeface="+mj-ea"/>
                <a:cs typeface="+mj-cs"/>
              </a:defRPr>
            </a:lvl1pPr>
          </a:lstStyle>
          <a:p>
            <a:pPr lvl="0"/>
            <a:r>
              <a:rPr lang="pt-BR" dirty="0" err="1"/>
              <a:t>Title</a:t>
            </a:r>
            <a:endParaRPr lang="en-US" dirty="0"/>
          </a:p>
        </p:txBody>
      </p:sp>
      <p:sp>
        <p:nvSpPr>
          <p:cNvPr id="12" name="Espaço Reservado para Texto 17"/>
          <p:cNvSpPr>
            <a:spLocks noGrp="1"/>
          </p:cNvSpPr>
          <p:nvPr>
            <p:ph type="body" sz="quarter" idx="14" hasCustomPrompt="1"/>
          </p:nvPr>
        </p:nvSpPr>
        <p:spPr>
          <a:xfrm>
            <a:off x="249733" y="325438"/>
            <a:ext cx="9925395" cy="323552"/>
          </a:xfrm>
        </p:spPr>
        <p:txBody>
          <a:bodyPr/>
          <a:lstStyle>
            <a:lvl1pPr marL="0" indent="0">
              <a:buNone/>
              <a:defRPr lang="en-US" sz="1800" kern="1200" dirty="0">
                <a:solidFill>
                  <a:schemeClr val="bg2"/>
                </a:solidFill>
                <a:latin typeface="Arial" charset="0"/>
                <a:ea typeface="+mn-ea"/>
                <a:cs typeface="Arial" charset="0"/>
              </a:defRPr>
            </a:lvl1pPr>
          </a:lstStyle>
          <a:p>
            <a:pPr lvl="0"/>
            <a:r>
              <a:rPr lang="pt-BR" dirty="0" err="1"/>
              <a:t>Title</a:t>
            </a:r>
            <a:endParaRPr lang="en-US" dirty="0"/>
          </a:p>
        </p:txBody>
      </p:sp>
      <p:sp>
        <p:nvSpPr>
          <p:cNvPr id="3" name="Espaço Reservado para Número de Slide 2"/>
          <p:cNvSpPr>
            <a:spLocks noGrp="1"/>
          </p:cNvSpPr>
          <p:nvPr>
            <p:ph type="sldNum" sz="quarter" idx="10"/>
          </p:nvPr>
        </p:nvSpPr>
        <p:spPr/>
        <p:txBody>
          <a:bodyPr/>
          <a:lstStyle>
            <a:lvl1pPr>
              <a:defRPr/>
            </a:lvl1pPr>
          </a:lstStyle>
          <a:p>
            <a:pPr>
              <a:defRPr/>
            </a:pPr>
            <a:fld id="{BF33BF2E-15EC-474E-A93F-7A83408A302A}" type="slidenum">
              <a:rPr lang="de-DE" smtClean="0"/>
              <a:pPr>
                <a:defRPr/>
              </a:pPr>
              <a:t>‹Nº›</a:t>
            </a:fld>
            <a:endParaRPr lang="de-DE" dirty="0"/>
          </a:p>
        </p:txBody>
      </p:sp>
      <p:sp>
        <p:nvSpPr>
          <p:cNvPr id="4" name="Espaço Reservado para Rodapé 3"/>
          <p:cNvSpPr>
            <a:spLocks noGrp="1"/>
          </p:cNvSpPr>
          <p:nvPr>
            <p:ph type="ftr" sz="quarter" idx="11"/>
          </p:nvPr>
        </p:nvSpPr>
        <p:spPr/>
        <p:txBody>
          <a:bodyPr/>
          <a:lstStyle/>
          <a:p>
            <a:pPr>
              <a:defRPr/>
            </a:pPr>
            <a:endParaRPr lang="de-DE"/>
          </a:p>
        </p:txBody>
      </p:sp>
      <p:sp>
        <p:nvSpPr>
          <p:cNvPr id="5" name="Espaço Reservado para Data 4"/>
          <p:cNvSpPr>
            <a:spLocks noGrp="1"/>
          </p:cNvSpPr>
          <p:nvPr>
            <p:ph type="dt" sz="half" idx="12"/>
          </p:nvPr>
        </p:nvSpPr>
        <p:spPr/>
        <p:txBody>
          <a:bodyPr/>
          <a:lstStyle>
            <a:lvl1pPr>
              <a:defRPr>
                <a:solidFill>
                  <a:srgbClr val="898989"/>
                </a:solidFill>
              </a:defRPr>
            </a:lvl1pPr>
          </a:lstStyle>
          <a:p>
            <a:pPr>
              <a:defRPr/>
            </a:pPr>
            <a:fld id="{1BA2A4D4-63DC-457C-AD44-1DB934AFBB44}" type="datetime1">
              <a:rPr lang="en-US" smtClean="0"/>
              <a:t>11/3/2017</a:t>
            </a:fld>
            <a:endParaRPr lang="de-DE"/>
          </a:p>
        </p:txBody>
      </p:sp>
    </p:spTree>
    <p:extLst>
      <p:ext uri="{BB962C8B-B14F-4D97-AF65-F5344CB8AC3E}">
        <p14:creationId xmlns:p14="http://schemas.microsoft.com/office/powerpoint/2010/main" val="12430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el und Inhalt">
    <p:spTree>
      <p:nvGrpSpPr>
        <p:cNvPr id="1" name=""/>
        <p:cNvGrpSpPr/>
        <p:nvPr/>
      </p:nvGrpSpPr>
      <p:grpSpPr>
        <a:xfrm>
          <a:off x="0" y="0"/>
          <a:ext cx="0" cy="0"/>
          <a:chOff x="0" y="0"/>
          <a:chExt cx="0" cy="0"/>
        </a:xfrm>
      </p:grpSpPr>
      <p:graphicFrame>
        <p:nvGraphicFramePr>
          <p:cNvPr id="2" name="Objeto 7"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5327" name="Slide do think-cell" r:id="rId6" imgW="270" imgH="270" progId="TCLayout.ActiveDocument.1">
                  <p:embed/>
                </p:oleObj>
              </mc:Choice>
              <mc:Fallback>
                <p:oleObj name="Slide do think-cell" r:id="rId6" imgW="270" imgH="270" progId="TCLayout.ActiveDocument.1">
                  <p:embed/>
                  <p:pic>
                    <p:nvPicPr>
                      <p:cNvPr id="2" name="Objeto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0"/>
            <a:ext cx="12190413"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ussPlaz"/>
          <p:cNvSpPr>
            <a:spLocks noGrp="1" noChangeArrowheads="1"/>
          </p:cNvSpPr>
          <p:nvPr>
            <p:ph type="ftr" sz="quarter" idx="11"/>
          </p:nvPr>
        </p:nvSpPr>
        <p:spPr>
          <a:xfrm>
            <a:off x="-4232" y="-309"/>
            <a:ext cx="12190412" cy="215900"/>
          </a:xfrm>
        </p:spPr>
        <p:txBody>
          <a:bodyPr anchor="ctr"/>
          <a:lstStyle>
            <a:lvl1pPr algn="ctr">
              <a:spcBef>
                <a:spcPct val="0"/>
              </a:spcBef>
              <a:defRPr sz="1000">
                <a:latin typeface="Arial" charset="0"/>
                <a:cs typeface="Arial" charset="0"/>
              </a:defRPr>
            </a:lvl1pPr>
          </a:lstStyle>
          <a:p>
            <a:pPr>
              <a:defRPr/>
            </a:pPr>
            <a:endParaRPr lang="en-US" dirty="0"/>
          </a:p>
        </p:txBody>
      </p:sp>
      <p:sp>
        <p:nvSpPr>
          <p:cNvPr id="8" name="SeitePlaz"/>
          <p:cNvSpPr>
            <a:spLocks noGrp="1" noChangeArrowheads="1"/>
          </p:cNvSpPr>
          <p:nvPr>
            <p:ph type="sldNum" sz="quarter" idx="12"/>
          </p:nvPr>
        </p:nvSpPr>
        <p:spPr/>
        <p:txBody>
          <a:bodyPr/>
          <a:lstStyle>
            <a:lvl1pPr algn="r">
              <a:spcBef>
                <a:spcPct val="0"/>
              </a:spcBef>
              <a:defRPr sz="800">
                <a:latin typeface="Arial" charset="0"/>
                <a:cs typeface="Arial" charset="0"/>
              </a:defRPr>
            </a:lvl1pPr>
          </a:lstStyle>
          <a:p>
            <a:pPr>
              <a:defRPr/>
            </a:pPr>
            <a:fld id="{7E131528-E41E-4B59-8A21-2825DAEE9235}" type="slidenum">
              <a:rPr lang="en-US"/>
              <a:pPr>
                <a:defRPr/>
              </a:pPr>
              <a:t>‹Nº›</a:t>
            </a:fld>
            <a:endParaRPr lang="en-US"/>
          </a:p>
        </p:txBody>
      </p:sp>
      <p:grpSp>
        <p:nvGrpSpPr>
          <p:cNvPr id="9" name="Grupo 8"/>
          <p:cNvGrpSpPr/>
          <p:nvPr userDrawn="1"/>
        </p:nvGrpSpPr>
        <p:grpSpPr>
          <a:xfrm>
            <a:off x="1" y="215901"/>
            <a:ext cx="12186180" cy="1217582"/>
            <a:chOff x="-1132433" y="215900"/>
            <a:chExt cx="10273258" cy="1368424"/>
          </a:xfrm>
        </p:grpSpPr>
        <p:sp>
          <p:nvSpPr>
            <p:cNvPr id="10" name="Fix/0/0,6/25,39/3,8"/>
            <p:cNvSpPr>
              <a:spLocks noChangeAspect="1" noChangeArrowheads="1"/>
            </p:cNvSpPr>
            <p:nvPr userDrawn="1">
              <p:custDataLst>
                <p:tags r:id="rId3"/>
              </p:custDataLst>
            </p:nvPr>
          </p:nvSpPr>
          <p:spPr bwMode="auto">
            <a:xfrm>
              <a:off x="-1132433" y="215900"/>
              <a:ext cx="10273258" cy="1368424"/>
            </a:xfrm>
            <a:prstGeom prst="rect">
              <a:avLst/>
            </a:prstGeom>
            <a:solidFill>
              <a:srgbClr val="004896">
                <a:alpha val="40000"/>
              </a:srgbClr>
            </a:solidFill>
            <a:ln>
              <a:noFill/>
            </a:ln>
            <a:effectLst/>
            <a:extLst/>
          </p:spPr>
          <p:txBody>
            <a:bodyPr wrap="none" anchor="ctr"/>
            <a:lstStyle/>
            <a:p>
              <a:pPr lvl="0"/>
              <a:endParaRPr lang="de-DE" sz="1800">
                <a:sym typeface="Arial"/>
              </a:endParaRPr>
            </a:p>
          </p:txBody>
        </p:sp>
        <p:pic>
          <p:nvPicPr>
            <p:cNvPr id="11" name="Fix/20,99/0,6/3,8/3,8"/>
            <p:cNvPicPr>
              <a:picLocks noChangeAspect="1" noChangeArrowheads="1"/>
            </p:cNvPicPr>
            <p:nvPr userDrawn="1">
              <p:custDataLst>
                <p:tags r:id="rId4"/>
              </p:custDataLst>
            </p:nvPr>
          </p:nvPicPr>
          <p:blipFill>
            <a:blip r:embed="rId9" cstate="print">
              <a:extLst>
                <a:ext uri="{28A0092B-C50C-407E-A947-70E740481C1C}">
                  <a14:useLocalDpi xmlns:a14="http://schemas.microsoft.com/office/drawing/2010/main" val="0"/>
                </a:ext>
              </a:extLst>
            </a:blip>
            <a:stretch>
              <a:fillRect/>
            </a:stretch>
          </p:blipFill>
          <p:spPr bwMode="auto">
            <a:xfrm>
              <a:off x="7556500" y="217058"/>
              <a:ext cx="1368425" cy="1366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6" name="Espaço Reservado para Texto 14"/>
          <p:cNvSpPr>
            <a:spLocks noGrp="1"/>
          </p:cNvSpPr>
          <p:nvPr>
            <p:ph type="body" sz="quarter" idx="13" hasCustomPrompt="1"/>
          </p:nvPr>
        </p:nvSpPr>
        <p:spPr>
          <a:xfrm>
            <a:off x="249735" y="620689"/>
            <a:ext cx="9113180" cy="556989"/>
          </a:xfrm>
        </p:spPr>
        <p:txBody>
          <a:bodyPr anchor="t"/>
          <a:lstStyle>
            <a:lvl1pPr marL="0" indent="0">
              <a:lnSpc>
                <a:spcPct val="80000"/>
              </a:lnSpc>
              <a:spcAft>
                <a:spcPts val="0"/>
              </a:spcAft>
              <a:buNone/>
              <a:defRPr lang="en-US" sz="3200" b="1" dirty="0">
                <a:solidFill>
                  <a:schemeClr val="bg2"/>
                </a:solidFill>
                <a:latin typeface="+mj-lt"/>
                <a:ea typeface="+mj-ea"/>
                <a:cs typeface="+mj-cs"/>
              </a:defRPr>
            </a:lvl1pPr>
          </a:lstStyle>
          <a:p>
            <a:pPr lvl="0"/>
            <a:r>
              <a:rPr lang="pt-BR" dirty="0" err="1"/>
              <a:t>Title</a:t>
            </a:r>
            <a:endParaRPr lang="en-US" dirty="0"/>
          </a:p>
        </p:txBody>
      </p:sp>
      <p:sp>
        <p:nvSpPr>
          <p:cNvPr id="18" name="Espaço Reservado para Texto 17"/>
          <p:cNvSpPr>
            <a:spLocks noGrp="1"/>
          </p:cNvSpPr>
          <p:nvPr>
            <p:ph type="body" sz="quarter" idx="14" hasCustomPrompt="1"/>
          </p:nvPr>
        </p:nvSpPr>
        <p:spPr>
          <a:xfrm>
            <a:off x="249733" y="325438"/>
            <a:ext cx="9925395" cy="323552"/>
          </a:xfrm>
        </p:spPr>
        <p:txBody>
          <a:bodyPr/>
          <a:lstStyle>
            <a:lvl1pPr marL="0" indent="0">
              <a:buNone/>
              <a:defRPr lang="en-US" sz="1800" kern="1200" dirty="0">
                <a:solidFill>
                  <a:schemeClr val="bg2"/>
                </a:solidFill>
                <a:latin typeface="Arial" charset="0"/>
                <a:ea typeface="+mn-ea"/>
                <a:cs typeface="Arial" charset="0"/>
              </a:defRPr>
            </a:lvl1pPr>
          </a:lstStyle>
          <a:p>
            <a:pPr lvl="0"/>
            <a:r>
              <a:rPr lang="pt-BR" dirty="0" err="1"/>
              <a:t>Title</a:t>
            </a:r>
            <a:endParaRPr lang="en-US" dirty="0"/>
          </a:p>
        </p:txBody>
      </p:sp>
    </p:spTree>
    <p:extLst>
      <p:ext uri="{BB962C8B-B14F-4D97-AF65-F5344CB8AC3E}">
        <p14:creationId xmlns:p14="http://schemas.microsoft.com/office/powerpoint/2010/main" val="2067829533"/>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2196000" y="4896000"/>
            <a:ext cx="9756775" cy="954000"/>
          </a:xfrm>
          <a:prstGeom prst="rect">
            <a:avLst/>
          </a:prstGeom>
        </p:spPr>
        <p:txBody>
          <a:bodyPr lIns="0" tIns="0" rIns="0" bIns="0" anchor="b">
            <a:normAutofit/>
          </a:bodyPr>
          <a:lstStyle>
            <a:lvl1pPr algn="l">
              <a:lnSpc>
                <a:spcPct val="95000"/>
              </a:lnSpc>
              <a:spcBef>
                <a:spcPts val="0"/>
              </a:spcBef>
              <a:spcAft>
                <a:spcPts val="0"/>
              </a:spcAft>
              <a:defRPr sz="3200" b="1" i="0">
                <a:solidFill>
                  <a:schemeClr val="accent1"/>
                </a:solidFill>
                <a:latin typeface="Arial"/>
              </a:defRPr>
            </a:lvl1pPr>
          </a:lstStyle>
          <a:p>
            <a:r>
              <a:rPr lang="de-DE"/>
              <a:t>Titelmasterformat durch Klicken bearbeiten</a:t>
            </a:r>
          </a:p>
        </p:txBody>
      </p:sp>
      <p:sp>
        <p:nvSpPr>
          <p:cNvPr id="3" name="TextPlaz"/>
          <p:cNvSpPr>
            <a:spLocks noGrp="1"/>
          </p:cNvSpPr>
          <p:nvPr>
            <p:ph type="subTitle" idx="1"/>
          </p:nvPr>
        </p:nvSpPr>
        <p:spPr>
          <a:xfrm>
            <a:off x="2196000" y="6048000"/>
            <a:ext cx="9756775" cy="432000"/>
          </a:xfrm>
          <a:prstGeom prst="rect">
            <a:avLst/>
          </a:prstGeom>
        </p:spPr>
        <p:txBody>
          <a:bodyPr lIns="0" tIns="0" rIns="0" bIns="0" anchor="b"/>
          <a:lstStyle>
            <a:lvl1pPr marL="0" indent="0" algn="l">
              <a:lnSpc>
                <a:spcPct val="95000"/>
              </a:lnSpc>
              <a:spcBef>
                <a:spcPts val="600"/>
              </a:spcBef>
              <a:spcAft>
                <a:spcPts val="0"/>
              </a:spcAft>
              <a:buNone/>
              <a:defRPr sz="1800" b="0" i="0">
                <a:solidFill>
                  <a:schemeClr val="accent6"/>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6" name="SeitePlaz"/>
          <p:cNvSpPr>
            <a:spLocks noGrp="1"/>
          </p:cNvSpPr>
          <p:nvPr>
            <p:ph type="sldNum" sz="quarter" idx="12"/>
          </p:nvPr>
        </p:nvSpPr>
        <p:spPr>
          <a:xfrm>
            <a:off x="10995640" y="6645600"/>
            <a:ext cx="959875" cy="151200"/>
          </a:xfrm>
        </p:spPr>
        <p:txBody>
          <a:bodyPr lIns="0" tIns="0" rIns="0" bIns="0" anchor="b"/>
          <a:lstStyle>
            <a:lvl1pPr algn="r">
              <a:lnSpc>
                <a:spcPct val="100000"/>
              </a:lnSpc>
              <a:spcBef>
                <a:spcPct val="110000"/>
              </a:spcBef>
              <a:spcAft>
                <a:spcPct val="110000"/>
              </a:spcAft>
              <a:defRPr sz="800" b="0" i="0">
                <a:latin typeface="Arial"/>
              </a:defRPr>
            </a:lvl1pPr>
          </a:lstStyle>
          <a:p>
            <a:pPr marL="0" marR="0" lvl="0" indent="0" algn="r" defTabSz="914400" rtl="0" eaLnBrk="1" fontAlgn="auto" latinLnBrk="0" hangingPunct="1">
              <a:lnSpc>
                <a:spcPct val="100000"/>
              </a:lnSpc>
              <a:spcBef>
                <a:spcPct val="110000"/>
              </a:spcBef>
              <a:spcAft>
                <a:spcPct val="110000"/>
              </a:spcAft>
              <a:buClrTx/>
              <a:buSzTx/>
              <a:buFontTx/>
              <a:buNone/>
              <a:tabLst/>
              <a:defRPr/>
            </a:pPr>
            <a:fld id="{3CE899F9-3946-41BC-AB25-3619C98F7D67}" type="slidenum">
              <a:rPr kumimoji="0" lang="de-DE" sz="8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ct val="110000"/>
                </a:spcBef>
                <a:spcAft>
                  <a:spcPct val="110000"/>
                </a:spcAft>
                <a:buClrTx/>
                <a:buSzTx/>
                <a:buFontTx/>
                <a:buNone/>
                <a:tabLst/>
                <a:defRPr/>
              </a:pPr>
              <a:t>‹Nº›</a:t>
            </a:fld>
            <a:endParaRPr kumimoji="0" lang="de-DE" sz="800" b="0" i="0" u="none" strike="noStrike" kern="1200" cap="none" spc="0" normalizeH="0" baseline="0" noProof="0" dirty="0">
              <a:ln>
                <a:noFill/>
              </a:ln>
              <a:solidFill>
                <a:srgbClr val="000000">
                  <a:tint val="75000"/>
                </a:srgbClr>
              </a:solidFill>
              <a:effectLst/>
              <a:uLnTx/>
              <a:uFillTx/>
              <a:latin typeface="Arial"/>
              <a:ea typeface="+mn-ea"/>
              <a:cs typeface="+mn-cs"/>
            </a:endParaRPr>
          </a:p>
        </p:txBody>
      </p:sp>
      <p:sp>
        <p:nvSpPr>
          <p:cNvPr id="5" name="FussPlaz"/>
          <p:cNvSpPr>
            <a:spLocks noGrp="1"/>
          </p:cNvSpPr>
          <p:nvPr>
            <p:ph type="ftr" sz="quarter" idx="11"/>
          </p:nvPr>
        </p:nvSpPr>
        <p:spPr>
          <a:xfrm>
            <a:off x="5809070" y="6630134"/>
            <a:ext cx="572273" cy="184666"/>
          </a:xfrm>
        </p:spPr>
        <p:txBody>
          <a:bodyPr wrap="none" lIns="0" tIns="0" rIns="0" bIns="0" anchor="b"/>
          <a:lstStyle>
            <a:lvl1pPr algn="ctr">
              <a:lnSpc>
                <a:spcPct val="100000"/>
              </a:lnSpc>
              <a:spcBef>
                <a:spcPct val="110000"/>
              </a:spcBef>
              <a:spcAft>
                <a:spcPct val="110000"/>
              </a:spcAft>
              <a:defRPr sz="1200" b="0" i="0">
                <a:latin typeface="Arial"/>
              </a:defRPr>
            </a:lvl1pPr>
          </a:lstStyle>
          <a:p>
            <a:pPr marL="0" marR="0" lvl="0" indent="0" algn="ctr" defTabSz="914400" rtl="0" eaLnBrk="1" fontAlgn="auto" latinLnBrk="0" hangingPunct="1">
              <a:lnSpc>
                <a:spcPct val="100000"/>
              </a:lnSpc>
              <a:spcBef>
                <a:spcPct val="110000"/>
              </a:spcBef>
              <a:spcAft>
                <a:spcPct val="110000"/>
              </a:spcAft>
              <a:buClrTx/>
              <a:buSzTx/>
              <a:buFontTx/>
              <a:buNone/>
              <a:tabLst/>
              <a:defRPr/>
            </a:pPr>
            <a:endParaRPr kumimoji="0" lang="de-DE" sz="12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4" name="DatumPlaz"/>
          <p:cNvSpPr>
            <a:spLocks noGrp="1"/>
          </p:cNvSpPr>
          <p:nvPr>
            <p:ph type="dt" sz="half" idx="10"/>
          </p:nvPr>
        </p:nvSpPr>
        <p:spPr>
          <a:xfrm>
            <a:off x="2206625" y="6645600"/>
            <a:ext cx="959875" cy="151200"/>
          </a:xfrm>
        </p:spPr>
        <p:txBody>
          <a:bodyPr lIns="0" tIns="0" rIns="0" bIns="0" anchor="b"/>
          <a:lstStyle>
            <a:lvl1pPr algn="l">
              <a:lnSpc>
                <a:spcPct val="100000"/>
              </a:lnSpc>
              <a:spcBef>
                <a:spcPct val="110000"/>
              </a:spcBef>
              <a:spcAft>
                <a:spcPct val="110000"/>
              </a:spcAft>
              <a:defRPr sz="800" b="0" i="0">
                <a:latin typeface="Arial"/>
              </a:defRPr>
            </a:lvl1pPr>
          </a:lstStyle>
          <a:p>
            <a:pPr marL="0" marR="0" lvl="0" indent="0" algn="l" defTabSz="914400" rtl="0" eaLnBrk="1" fontAlgn="auto" latinLnBrk="0" hangingPunct="1">
              <a:lnSpc>
                <a:spcPct val="100000"/>
              </a:lnSpc>
              <a:spcBef>
                <a:spcPct val="110000"/>
              </a:spcBef>
              <a:spcAft>
                <a:spcPct val="110000"/>
              </a:spcAft>
              <a:buClrTx/>
              <a:buSzTx/>
              <a:buFontTx/>
              <a:buNone/>
              <a:tabLst/>
              <a:defRPr/>
            </a:pPr>
            <a:fld id="{3228F203-691F-42F3-9FC9-28A22DE0A7DC}" type="datetime1">
              <a:rPr kumimoji="0" lang="de-DE" sz="8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l" defTabSz="914400" rtl="0" eaLnBrk="1" fontAlgn="auto" latinLnBrk="0" hangingPunct="1">
                <a:lnSpc>
                  <a:spcPct val="100000"/>
                </a:lnSpc>
                <a:spcBef>
                  <a:spcPct val="110000"/>
                </a:spcBef>
                <a:spcAft>
                  <a:spcPct val="110000"/>
                </a:spcAft>
                <a:buClrTx/>
                <a:buSzTx/>
                <a:buFontTx/>
                <a:buNone/>
                <a:tabLst/>
                <a:defRPr/>
              </a:pPr>
              <a:t>03.11.2017</a:t>
            </a:fld>
            <a:endParaRPr kumimoji="0" lang="de-DE" sz="800" b="0" i="0" u="none" strike="noStrike" kern="1200" cap="none" spc="0" normalizeH="0" baseline="0" noProof="0">
              <a:ln>
                <a:noFill/>
              </a:ln>
              <a:solidFill>
                <a:srgbClr val="000000">
                  <a:tint val="75000"/>
                </a:srgbClr>
              </a:solidFill>
              <a:effectLst/>
              <a:uLnTx/>
              <a:uFillTx/>
              <a:latin typeface="Arial"/>
              <a:ea typeface="+mn-ea"/>
              <a:cs typeface="+mn-cs"/>
            </a:endParaRPr>
          </a:p>
        </p:txBody>
      </p:sp>
    </p:spTree>
    <p:extLst>
      <p:ext uri="{BB962C8B-B14F-4D97-AF65-F5344CB8AC3E}">
        <p14:creationId xmlns:p14="http://schemas.microsoft.com/office/powerpoint/2010/main" val="1151074980"/>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dirty="0"/>
              <a:t>Titelmasterformat durch Klicken bearbeiten</a:t>
            </a:r>
          </a:p>
        </p:txBody>
      </p:sp>
      <p:sp>
        <p:nvSpPr>
          <p:cNvPr id="3" name="SeitePlaz"/>
          <p:cNvSpPr>
            <a:spLocks noGrp="1"/>
          </p:cNvSpPr>
          <p:nvPr>
            <p:ph type="sldNum" sz="quarter" idx="10"/>
            <p:custDataLst>
              <p:tags r:id="rId2"/>
            </p:custDataLst>
          </p:nvPr>
        </p:nvSpPr>
        <p:spPr/>
        <p:txBody>
          <a:bodyPr/>
          <a:lstStyle/>
          <a:p>
            <a:fld id="{9ED39FAB-3417-4E61-A69A-10C0CE33FFC4}" type="slidenum">
              <a:rPr lang="de-DE" smtClean="0"/>
              <a:pPr/>
              <a:t>‹Nº›</a:t>
            </a:fld>
            <a:endParaRPr lang="de-DE"/>
          </a:p>
        </p:txBody>
      </p:sp>
      <p:sp>
        <p:nvSpPr>
          <p:cNvPr id="4" name="FussPlaz"/>
          <p:cNvSpPr>
            <a:spLocks noGrp="1"/>
          </p:cNvSpPr>
          <p:nvPr>
            <p:ph type="ftr" sz="quarter" idx="11"/>
            <p:custDataLst>
              <p:tags r:id="rId3"/>
            </p:custDataLst>
          </p:nvPr>
        </p:nvSpPr>
        <p:spPr/>
        <p:txBody>
          <a:bodyPr/>
          <a:lstStyle/>
          <a:p>
            <a:endParaRPr lang="de-DE"/>
          </a:p>
        </p:txBody>
      </p:sp>
      <p:sp>
        <p:nvSpPr>
          <p:cNvPr id="5" name="DatumPlaz"/>
          <p:cNvSpPr>
            <a:spLocks noGrp="1"/>
          </p:cNvSpPr>
          <p:nvPr>
            <p:ph type="dt" sz="half" idx="12"/>
            <p:custDataLst>
              <p:tags r:id="rId4"/>
            </p:custDataLst>
          </p:nvPr>
        </p:nvSpPr>
        <p:spPr/>
        <p:txBody>
          <a:bodyPr/>
          <a:lstStyle/>
          <a:p>
            <a:fld id="{B0DBB154-0039-456A-9134-4FC8627B2C93}" type="datetime1">
              <a:rPr lang="de-DE" smtClean="0"/>
              <a:t>03.11.2017</a:t>
            </a:fld>
            <a:endParaRPr lang="de-DE"/>
          </a:p>
        </p:txBody>
      </p:sp>
    </p:spTree>
    <p:extLst>
      <p:ext uri="{BB962C8B-B14F-4D97-AF65-F5344CB8AC3E}">
        <p14:creationId xmlns:p14="http://schemas.microsoft.com/office/powerpoint/2010/main" val="2972374827"/>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a:t>Titelmasterformat durch Klicken bearbeiten</a:t>
            </a:r>
          </a:p>
        </p:txBody>
      </p:sp>
      <p:sp>
        <p:nvSpPr>
          <p:cNvPr id="3" name="TextPlaz"/>
          <p:cNvSpPr>
            <a:spLocks noGrp="1"/>
          </p:cNvSpPr>
          <p:nvPr>
            <p:ph type="body" idx="1"/>
            <p:custDataLst>
              <p:tags r:id="rId2"/>
            </p:custDataLst>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stStyle>
          <a:p>
            <a:pPr lvl="0" fontAlgn="base">
              <a:spcBef>
                <a:spcPts val="1800"/>
              </a:spcBef>
              <a:spcAft>
                <a:spcPct val="0"/>
              </a:spcAft>
              <a:buFont typeface="Wingdings" pitchFamily="2" charset="2"/>
            </a:pPr>
            <a:r>
              <a:rPr lang="de-DE" dirty="0"/>
              <a:t>Textmasterformat bearbeiten</a:t>
            </a:r>
          </a:p>
          <a:p>
            <a:pPr marL="623888" lvl="1" indent="-266700" fontAlgn="base">
              <a:spcBef>
                <a:spcPts val="600"/>
              </a:spcBef>
              <a:spcAft>
                <a:spcPct val="0"/>
              </a:spcAft>
              <a:buSzPct val="90000"/>
              <a:buFont typeface="Wingdings 3" pitchFamily="18" charset="2"/>
              <a:buChar char="u"/>
            </a:pPr>
            <a:r>
              <a:rPr lang="de-DE" dirty="0"/>
              <a:t>Zweite Ebene</a:t>
            </a:r>
          </a:p>
          <a:p>
            <a:pPr marL="900113" lvl="2" indent="-276225" fontAlgn="base">
              <a:spcBef>
                <a:spcPct val="0"/>
              </a:spcBef>
              <a:spcAft>
                <a:spcPct val="0"/>
              </a:spcAft>
              <a:buClr>
                <a:schemeClr val="accent1"/>
              </a:buClr>
              <a:buSzPct val="95000"/>
              <a:buFont typeface="Wingdings" pitchFamily="2" charset="2"/>
              <a:buChar char="l"/>
            </a:pPr>
            <a:r>
              <a:rPr lang="de-DE" dirty="0"/>
              <a:t>Dritte Ebene</a:t>
            </a:r>
          </a:p>
          <a:p>
            <a:pPr marL="1166813" lvl="3" indent="-266700" fontAlgn="base">
              <a:spcBef>
                <a:spcPct val="0"/>
              </a:spcBef>
              <a:spcAft>
                <a:spcPct val="0"/>
              </a:spcAft>
            </a:pPr>
            <a:r>
              <a:rPr lang="de-DE" dirty="0"/>
              <a:t>Vierte Ebene</a:t>
            </a:r>
          </a:p>
        </p:txBody>
      </p:sp>
      <p:sp>
        <p:nvSpPr>
          <p:cNvPr id="4" name="SeitePlaz"/>
          <p:cNvSpPr>
            <a:spLocks noGrp="1"/>
          </p:cNvSpPr>
          <p:nvPr>
            <p:ph type="sldNum" sz="quarter" idx="10"/>
            <p:custDataLst>
              <p:tags r:id="rId3"/>
            </p:custDataLst>
          </p:nvPr>
        </p:nvSpPr>
        <p:spPr/>
        <p:txBody>
          <a:bodyPr/>
          <a:lstStyle/>
          <a:p>
            <a:fld id="{9ED39FAB-3417-4E61-A69A-10C0CE33FFC4}" type="slidenum">
              <a:rPr lang="de-DE" smtClean="0"/>
              <a:pPr/>
              <a:t>‹Nº›</a:t>
            </a:fld>
            <a:endParaRPr lang="de-DE"/>
          </a:p>
        </p:txBody>
      </p:sp>
      <p:sp>
        <p:nvSpPr>
          <p:cNvPr id="5" name="FussPlaz"/>
          <p:cNvSpPr>
            <a:spLocks noGrp="1"/>
          </p:cNvSpPr>
          <p:nvPr>
            <p:ph type="ftr" sz="quarter" idx="11"/>
            <p:custDataLst>
              <p:tags r:id="rId4"/>
            </p:custDataLst>
          </p:nvPr>
        </p:nvSpPr>
        <p:spPr/>
        <p:txBody>
          <a:bodyPr/>
          <a:lstStyle/>
          <a:p>
            <a:endParaRPr lang="de-DE"/>
          </a:p>
        </p:txBody>
      </p:sp>
      <p:sp>
        <p:nvSpPr>
          <p:cNvPr id="6" name="DatumPlaz"/>
          <p:cNvSpPr>
            <a:spLocks noGrp="1"/>
          </p:cNvSpPr>
          <p:nvPr>
            <p:ph type="dt" sz="half" idx="12"/>
            <p:custDataLst>
              <p:tags r:id="rId5"/>
            </p:custDataLst>
          </p:nvPr>
        </p:nvSpPr>
        <p:spPr/>
        <p:txBody>
          <a:bodyPr/>
          <a:lstStyle/>
          <a:p>
            <a:fld id="{927EF526-16B2-46A9-9F69-8FED34254A08}" type="datetime1">
              <a:rPr lang="de-DE" smtClean="0"/>
              <a:t>03.11.2017</a:t>
            </a:fld>
            <a:endParaRPr lang="de-DE"/>
          </a:p>
        </p:txBody>
      </p:sp>
    </p:spTree>
    <p:extLst>
      <p:ext uri="{BB962C8B-B14F-4D97-AF65-F5344CB8AC3E}">
        <p14:creationId xmlns:p14="http://schemas.microsoft.com/office/powerpoint/2010/main" val="3589780851"/>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p>
            <a:fld id="{9ED39FAB-3417-4E61-A69A-10C0CE33FFC4}" type="slidenum">
              <a:rPr lang="de-DE" smtClean="0"/>
              <a:pPr/>
              <a:t>‹Nº›</a:t>
            </a:fld>
            <a:endParaRPr lang="de-DE"/>
          </a:p>
        </p:txBody>
      </p:sp>
      <p:sp>
        <p:nvSpPr>
          <p:cNvPr id="3" name="FussPlaz"/>
          <p:cNvSpPr>
            <a:spLocks noGrp="1"/>
          </p:cNvSpPr>
          <p:nvPr>
            <p:ph type="ftr" sz="quarter" idx="11"/>
            <p:custDataLst>
              <p:tags r:id="rId2"/>
            </p:custDataLst>
          </p:nvPr>
        </p:nvSpPr>
        <p:spPr/>
        <p:txBody>
          <a:bodyPr/>
          <a:lstStyle/>
          <a:p>
            <a:endParaRPr lang="de-DE"/>
          </a:p>
        </p:txBody>
      </p:sp>
      <p:sp>
        <p:nvSpPr>
          <p:cNvPr id="4" name="DatumPlaz"/>
          <p:cNvSpPr>
            <a:spLocks noGrp="1"/>
          </p:cNvSpPr>
          <p:nvPr>
            <p:ph type="dt" sz="half" idx="12"/>
            <p:custDataLst>
              <p:tags r:id="rId3"/>
            </p:custDataLst>
          </p:nvPr>
        </p:nvSpPr>
        <p:spPr/>
        <p:txBody>
          <a:bodyPr/>
          <a:lstStyle/>
          <a:p>
            <a:fld id="{C9FC6592-786C-481D-A0E4-C70173E79FAB}" type="datetime1">
              <a:rPr lang="de-DE" smtClean="0"/>
              <a:t>03.11.2017</a:t>
            </a:fld>
            <a:endParaRPr lang="de-DE"/>
          </a:p>
        </p:txBody>
      </p:sp>
    </p:spTree>
    <p:extLst>
      <p:ext uri="{BB962C8B-B14F-4D97-AF65-F5344CB8AC3E}">
        <p14:creationId xmlns:p14="http://schemas.microsoft.com/office/powerpoint/2010/main" val="358545466"/>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489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Leer (12)">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0" y="0"/>
          <a:ext cx="211639" cy="158750"/>
        </p:xfrm>
        <a:graphic>
          <a:graphicData uri="http://schemas.openxmlformats.org/presentationml/2006/ole">
            <mc:AlternateContent xmlns:mc="http://schemas.openxmlformats.org/markup-compatibility/2006">
              <mc:Choice xmlns:v="urn:schemas-microsoft-com:vml" Requires="v">
                <p:oleObj spid="_x0000_s21552" name="think-cell Folie" r:id="rId7" imgW="270" imgH="270" progId="TCLayout.ActiveDocument.1">
                  <p:embed/>
                </p:oleObj>
              </mc:Choice>
              <mc:Fallback>
                <p:oleObj name="think-cell Folie" r:id="rId7" imgW="270" imgH="270" progId="TCLayout.ActiveDocument.1">
                  <p:embed/>
                  <p:pic>
                    <p:nvPicPr>
                      <p:cNvPr id="5" name="Objekt 4" hidden="1"/>
                      <p:cNvPicPr/>
                      <p:nvPr/>
                    </p:nvPicPr>
                    <p:blipFill>
                      <a:blip r:embed="rId8"/>
                      <a:stretch>
                        <a:fillRect/>
                      </a:stretch>
                    </p:blipFill>
                    <p:spPr>
                      <a:xfrm>
                        <a:off x="0" y="0"/>
                        <a:ext cx="211639" cy="158750"/>
                      </a:xfrm>
                      <a:prstGeom prst="rect">
                        <a:avLst/>
                      </a:prstGeom>
                    </p:spPr>
                  </p:pic>
                </p:oleObj>
              </mc:Fallback>
            </mc:AlternateContent>
          </a:graphicData>
        </a:graphic>
      </p:graphicFrame>
      <p:sp>
        <p:nvSpPr>
          <p:cNvPr id="2" name="SeitePlaz"/>
          <p:cNvSpPr>
            <a:spLocks noGrp="1"/>
          </p:cNvSpPr>
          <p:nvPr>
            <p:ph type="sldNum" sz="quarter" idx="10"/>
            <p:custDataLst>
              <p:tags r:id="rId3"/>
            </p:custDataLst>
          </p:nvPr>
        </p:nvSpPr>
        <p:spPr/>
        <p:txBody>
          <a:bodyPr/>
          <a:lstStyle>
            <a:lvl1pPr>
              <a:defRPr/>
            </a:lvl1pPr>
          </a:lstStyle>
          <a:p>
            <a:fld id="{58F8B7A0-D549-4FD1-AE78-D1C36FE8F368}" type="slidenum">
              <a:rPr lang="de-DE" smtClean="0"/>
              <a:pPr/>
              <a:t>‹Nº›</a:t>
            </a:fld>
            <a:endParaRPr lang="de-DE"/>
          </a:p>
        </p:txBody>
      </p:sp>
      <p:sp>
        <p:nvSpPr>
          <p:cNvPr id="3" name="FussPlaz"/>
          <p:cNvSpPr>
            <a:spLocks noGrp="1"/>
          </p:cNvSpPr>
          <p:nvPr>
            <p:ph type="ftr" sz="quarter" idx="11"/>
            <p:custDataLst>
              <p:tags r:id="rId4"/>
            </p:custDataLst>
          </p:nvPr>
        </p:nvSpPr>
        <p:spPr>
          <a:xfrm>
            <a:off x="2880360" y="6630986"/>
            <a:ext cx="65" cy="184666"/>
          </a:xfrm>
        </p:spPr>
        <p:txBody>
          <a:bodyPr/>
          <a:lstStyle>
            <a:lvl1pPr>
              <a:defRPr/>
            </a:lvl1pPr>
          </a:lstStyle>
          <a:p>
            <a:endParaRPr lang="de-DE"/>
          </a:p>
        </p:txBody>
      </p:sp>
      <p:sp>
        <p:nvSpPr>
          <p:cNvPr id="4" name="DatumPlaz"/>
          <p:cNvSpPr>
            <a:spLocks noGrp="1"/>
          </p:cNvSpPr>
          <p:nvPr>
            <p:ph type="dt" sz="half" idx="12"/>
            <p:custDataLst>
              <p:tags r:id="rId5"/>
            </p:custDataLst>
          </p:nvPr>
        </p:nvSpPr>
        <p:spPr/>
        <p:txBody>
          <a:bodyPr/>
          <a:lstStyle>
            <a:lvl1pPr>
              <a:defRPr/>
            </a:lvl1pPr>
          </a:lstStyle>
          <a:p>
            <a:r>
              <a:rPr lang="en-US"/>
              <a:t>13.12.2012</a:t>
            </a:r>
            <a:endParaRPr lang="de-DE"/>
          </a:p>
        </p:txBody>
      </p:sp>
    </p:spTree>
    <p:extLst>
      <p:ext uri="{BB962C8B-B14F-4D97-AF65-F5344CB8AC3E}">
        <p14:creationId xmlns:p14="http://schemas.microsoft.com/office/powerpoint/2010/main" val="33469653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a:t>Titelmasterformat durch Klicken bearbeiten</a:t>
            </a:r>
          </a:p>
        </p:txBody>
      </p:sp>
      <p:sp>
        <p:nvSpPr>
          <p:cNvPr id="3" name="SeitePlaz"/>
          <p:cNvSpPr>
            <a:spLocks noGrp="1"/>
          </p:cNvSpPr>
          <p:nvPr>
            <p:ph type="sldNum" sz="quarter" idx="10"/>
            <p:custDataLst>
              <p:tags r:id="rId2"/>
            </p:custDataLst>
          </p:nvPr>
        </p:nvSpPr>
        <p:spPr/>
        <p:txBody>
          <a:bodyPr/>
          <a:lstStyle/>
          <a:p>
            <a:fld id="{9ED39FAB-3417-4E61-A69A-10C0CE33FFC4}" type="slidenum">
              <a:rPr lang="de-DE" smtClean="0"/>
              <a:pPr/>
              <a:t>‹Nº›</a:t>
            </a:fld>
            <a:endParaRPr lang="de-DE"/>
          </a:p>
        </p:txBody>
      </p:sp>
      <p:sp>
        <p:nvSpPr>
          <p:cNvPr id="4" name="FussPlaz"/>
          <p:cNvSpPr>
            <a:spLocks noGrp="1"/>
          </p:cNvSpPr>
          <p:nvPr>
            <p:ph type="ftr" sz="quarter" idx="11"/>
            <p:custDataLst>
              <p:tags r:id="rId3"/>
            </p:custDataLst>
          </p:nvPr>
        </p:nvSpPr>
        <p:spPr/>
        <p:txBody>
          <a:bodyPr/>
          <a:lstStyle/>
          <a:p>
            <a:endParaRPr lang="de-DE"/>
          </a:p>
        </p:txBody>
      </p:sp>
      <p:sp>
        <p:nvSpPr>
          <p:cNvPr id="5" name="DatumPlaz"/>
          <p:cNvSpPr>
            <a:spLocks noGrp="1"/>
          </p:cNvSpPr>
          <p:nvPr>
            <p:ph type="dt" sz="half" idx="12"/>
            <p:custDataLst>
              <p:tags r:id="rId4"/>
            </p:custDataLst>
          </p:nvPr>
        </p:nvSpPr>
        <p:spPr/>
        <p:txBody>
          <a:bodyPr/>
          <a:lstStyle/>
          <a:p>
            <a:fld id="{B0DBB154-0039-456A-9134-4FC8627B2C93}" type="datetime1">
              <a:rPr lang="de-DE" smtClean="0"/>
              <a:t>03.11.2017</a:t>
            </a:fld>
            <a:endParaRPr lang="de-DE"/>
          </a:p>
        </p:txBody>
      </p:sp>
    </p:spTree>
    <p:extLst>
      <p:ext uri="{BB962C8B-B14F-4D97-AF65-F5344CB8AC3E}">
        <p14:creationId xmlns:p14="http://schemas.microsoft.com/office/powerpoint/2010/main" val="3305177836"/>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a:t>Titelmasterformat durch Klicken bearbeiten</a:t>
            </a:r>
          </a:p>
        </p:txBody>
      </p:sp>
      <p:sp>
        <p:nvSpPr>
          <p:cNvPr id="3" name="TextPlaz"/>
          <p:cNvSpPr>
            <a:spLocks noGrp="1"/>
          </p:cNvSpPr>
          <p:nvPr>
            <p:ph type="body" idx="1"/>
            <p:custDataLst>
              <p:tags r:id="rId2"/>
            </p:custDataLst>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stStyle>
          <a:p>
            <a:pPr lvl="0" fontAlgn="base">
              <a:spcBef>
                <a:spcPts val="1800"/>
              </a:spcBef>
              <a:spcAft>
                <a:spcPct val="0"/>
              </a:spcAft>
              <a:buFont typeface="Wingdings" pitchFamily="2" charset="2"/>
            </a:pPr>
            <a:r>
              <a:rPr lang="de-DE" dirty="0"/>
              <a:t>Textmasterformat bearbeiten</a:t>
            </a:r>
          </a:p>
          <a:p>
            <a:pPr marL="623888" lvl="1" indent="-266700" fontAlgn="base">
              <a:spcBef>
                <a:spcPts val="600"/>
              </a:spcBef>
              <a:spcAft>
                <a:spcPct val="0"/>
              </a:spcAft>
              <a:buSzPct val="90000"/>
              <a:buFont typeface="Wingdings 3" pitchFamily="18" charset="2"/>
              <a:buChar char="u"/>
            </a:pPr>
            <a:r>
              <a:rPr lang="de-DE" dirty="0"/>
              <a:t>Zweite Ebene</a:t>
            </a:r>
          </a:p>
          <a:p>
            <a:pPr marL="900113" lvl="2" indent="-276225" fontAlgn="base">
              <a:spcBef>
                <a:spcPct val="0"/>
              </a:spcBef>
              <a:spcAft>
                <a:spcPct val="0"/>
              </a:spcAft>
              <a:buClr>
                <a:schemeClr val="accent1"/>
              </a:buClr>
              <a:buSzPct val="95000"/>
              <a:buFont typeface="Wingdings" pitchFamily="2" charset="2"/>
              <a:buChar char="l"/>
            </a:pPr>
            <a:r>
              <a:rPr lang="de-DE" dirty="0"/>
              <a:t>Dritte Ebene</a:t>
            </a:r>
          </a:p>
          <a:p>
            <a:pPr marL="1166813" lvl="3" indent="-266700" fontAlgn="base">
              <a:spcBef>
                <a:spcPct val="0"/>
              </a:spcBef>
              <a:spcAft>
                <a:spcPct val="0"/>
              </a:spcAft>
            </a:pPr>
            <a:r>
              <a:rPr lang="de-DE" dirty="0"/>
              <a:t>Vierte Ebene</a:t>
            </a:r>
          </a:p>
        </p:txBody>
      </p:sp>
      <p:sp>
        <p:nvSpPr>
          <p:cNvPr id="4" name="SeitePlaz"/>
          <p:cNvSpPr>
            <a:spLocks noGrp="1"/>
          </p:cNvSpPr>
          <p:nvPr>
            <p:ph type="sldNum" sz="quarter" idx="10"/>
            <p:custDataLst>
              <p:tags r:id="rId3"/>
            </p:custDataLst>
          </p:nvPr>
        </p:nvSpPr>
        <p:spPr/>
        <p:txBody>
          <a:bodyPr/>
          <a:lstStyle/>
          <a:p>
            <a:fld id="{9ED39FAB-3417-4E61-A69A-10C0CE33FFC4}" type="slidenum">
              <a:rPr lang="de-DE" smtClean="0"/>
              <a:pPr/>
              <a:t>‹Nº›</a:t>
            </a:fld>
            <a:endParaRPr lang="de-DE"/>
          </a:p>
        </p:txBody>
      </p:sp>
      <p:sp>
        <p:nvSpPr>
          <p:cNvPr id="5" name="FussPlaz"/>
          <p:cNvSpPr>
            <a:spLocks noGrp="1"/>
          </p:cNvSpPr>
          <p:nvPr>
            <p:ph type="ftr" sz="quarter" idx="11"/>
            <p:custDataLst>
              <p:tags r:id="rId4"/>
            </p:custDataLst>
          </p:nvPr>
        </p:nvSpPr>
        <p:spPr/>
        <p:txBody>
          <a:bodyPr/>
          <a:lstStyle/>
          <a:p>
            <a:endParaRPr lang="de-DE"/>
          </a:p>
        </p:txBody>
      </p:sp>
      <p:sp>
        <p:nvSpPr>
          <p:cNvPr id="6" name="DatumPlaz"/>
          <p:cNvSpPr>
            <a:spLocks noGrp="1"/>
          </p:cNvSpPr>
          <p:nvPr>
            <p:ph type="dt" sz="half" idx="12"/>
            <p:custDataLst>
              <p:tags r:id="rId5"/>
            </p:custDataLst>
          </p:nvPr>
        </p:nvSpPr>
        <p:spPr/>
        <p:txBody>
          <a:bodyPr/>
          <a:lstStyle/>
          <a:p>
            <a:fld id="{927EF526-16B2-46A9-9F69-8FED34254A08}" type="datetime1">
              <a:rPr lang="de-DE" smtClean="0"/>
              <a:t>03.11.2017</a:t>
            </a:fld>
            <a:endParaRPr lang="de-DE"/>
          </a:p>
        </p:txBody>
      </p:sp>
    </p:spTree>
    <p:extLst>
      <p:ext uri="{BB962C8B-B14F-4D97-AF65-F5344CB8AC3E}">
        <p14:creationId xmlns:p14="http://schemas.microsoft.com/office/powerpoint/2010/main" val="3884913041"/>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p>
            <a:fld id="{9ED39FAB-3417-4E61-A69A-10C0CE33FFC4}" type="slidenum">
              <a:rPr lang="de-DE" smtClean="0"/>
              <a:pPr/>
              <a:t>‹Nº›</a:t>
            </a:fld>
            <a:endParaRPr lang="de-DE"/>
          </a:p>
        </p:txBody>
      </p:sp>
      <p:sp>
        <p:nvSpPr>
          <p:cNvPr id="3" name="FussPlaz"/>
          <p:cNvSpPr>
            <a:spLocks noGrp="1"/>
          </p:cNvSpPr>
          <p:nvPr>
            <p:ph type="ftr" sz="quarter" idx="11"/>
            <p:custDataLst>
              <p:tags r:id="rId2"/>
            </p:custDataLst>
          </p:nvPr>
        </p:nvSpPr>
        <p:spPr/>
        <p:txBody>
          <a:bodyPr/>
          <a:lstStyle/>
          <a:p>
            <a:endParaRPr lang="de-DE"/>
          </a:p>
        </p:txBody>
      </p:sp>
      <p:sp>
        <p:nvSpPr>
          <p:cNvPr id="4" name="DatumPlaz"/>
          <p:cNvSpPr>
            <a:spLocks noGrp="1"/>
          </p:cNvSpPr>
          <p:nvPr>
            <p:ph type="dt" sz="half" idx="12"/>
            <p:custDataLst>
              <p:tags r:id="rId3"/>
            </p:custDataLst>
          </p:nvPr>
        </p:nvSpPr>
        <p:spPr/>
        <p:txBody>
          <a:bodyPr/>
          <a:lstStyle/>
          <a:p>
            <a:fld id="{C9FC6592-786C-481D-A0E4-C70173E79FAB}" type="datetime1">
              <a:rPr lang="de-DE" smtClean="0"/>
              <a:t>03.11.2017</a:t>
            </a:fld>
            <a:endParaRPr lang="de-DE"/>
          </a:p>
        </p:txBody>
      </p:sp>
    </p:spTree>
    <p:extLst>
      <p:ext uri="{BB962C8B-B14F-4D97-AF65-F5344CB8AC3E}">
        <p14:creationId xmlns:p14="http://schemas.microsoft.com/office/powerpoint/2010/main" val="2443040254"/>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elfolie (1)">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3"/>
            </p:custDataLst>
            <p:extLst/>
          </p:nvPr>
        </p:nvGraphicFramePr>
        <p:xfrm>
          <a:off x="0" y="0"/>
          <a:ext cx="211639" cy="158750"/>
        </p:xfrm>
        <a:graphic>
          <a:graphicData uri="http://schemas.openxmlformats.org/presentationml/2006/ole">
            <mc:AlternateContent xmlns:mc="http://schemas.openxmlformats.org/markup-compatibility/2006">
              <mc:Choice xmlns:v="urn:schemas-microsoft-com:vml" Requires="v">
                <p:oleObj spid="_x0000_s6209" name="think-cell Folie" r:id="rId5" imgW="6350000" imgH="6350000" progId="TCLayout.ActiveDocument.1">
                  <p:embed/>
                </p:oleObj>
              </mc:Choice>
              <mc:Fallback>
                <p:oleObj name="think-cell Folie" r:id="rId5" imgW="6350000" imgH="6350000" progId="TCLayout.ActiveDocument.1">
                  <p:embed/>
                  <p:pic>
                    <p:nvPicPr>
                      <p:cNvPr id="7" name="Objek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116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z"/>
          <p:cNvSpPr>
            <a:spLocks noGrp="1"/>
          </p:cNvSpPr>
          <p:nvPr>
            <p:ph type="ctrTitle"/>
          </p:nvPr>
        </p:nvSpPr>
        <p:spPr>
          <a:xfrm>
            <a:off x="2879625" y="4896000"/>
            <a:ext cx="8974832" cy="954000"/>
          </a:xfrm>
          <a:prstGeom prst="rect">
            <a:avLst/>
          </a:prstGeom>
        </p:spPr>
        <p:txBody>
          <a:bodyPr lIns="0" tIns="0" rIns="0" bIns="0" anchor="b">
            <a:normAutofit/>
          </a:bodyPr>
          <a:lstStyle>
            <a:lvl1pPr algn="l">
              <a:lnSpc>
                <a:spcPct val="95000"/>
              </a:lnSpc>
              <a:spcBef>
                <a:spcPts val="0"/>
              </a:spcBef>
              <a:spcAft>
                <a:spcPts val="0"/>
              </a:spcAft>
              <a:defRPr sz="3000" b="1" i="0">
                <a:solidFill>
                  <a:schemeClr val="tx1"/>
                </a:solidFill>
                <a:latin typeface="Arial"/>
              </a:defRPr>
            </a:lvl1pPr>
          </a:lstStyle>
          <a:p>
            <a:r>
              <a:rPr lang="de-DE" dirty="0"/>
              <a:t>Titelmasterformat durch Klicken bearbeiten</a:t>
            </a:r>
          </a:p>
        </p:txBody>
      </p:sp>
      <p:sp>
        <p:nvSpPr>
          <p:cNvPr id="3" name="TextPlaz"/>
          <p:cNvSpPr>
            <a:spLocks noGrp="1"/>
          </p:cNvSpPr>
          <p:nvPr>
            <p:ph type="subTitle" idx="1"/>
          </p:nvPr>
        </p:nvSpPr>
        <p:spPr>
          <a:xfrm>
            <a:off x="2879625" y="6050413"/>
            <a:ext cx="8974832" cy="432000"/>
          </a:xfrm>
          <a:prstGeom prst="rect">
            <a:avLst/>
          </a:prstGeom>
        </p:spPr>
        <p:txBody>
          <a:bodyPr lIns="0" tIns="0" rIns="0" bIns="0" anchor="b"/>
          <a:lstStyle>
            <a:lvl1pPr marL="0" indent="0" algn="l">
              <a:lnSpc>
                <a:spcPct val="95000"/>
              </a:lnSpc>
              <a:spcBef>
                <a:spcPts val="0"/>
              </a:spcBef>
              <a:spcAft>
                <a:spcPts val="0"/>
              </a:spcAft>
              <a:buNone/>
              <a:defRPr sz="2000" b="0" i="0">
                <a:solidFill>
                  <a:schemeClr val="tx1"/>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6" name="SeitePlaz"/>
          <p:cNvSpPr>
            <a:spLocks noGrp="1"/>
          </p:cNvSpPr>
          <p:nvPr>
            <p:ph type="sldNum" sz="quarter" idx="12"/>
          </p:nvPr>
        </p:nvSpPr>
        <p:spPr>
          <a:xfrm>
            <a:off x="10942575" y="6645600"/>
            <a:ext cx="959875" cy="151200"/>
          </a:xfrm>
        </p:spPr>
        <p:txBody>
          <a:bodyPr lIns="0" tIns="0" rIns="0" bIns="0" anchor="b"/>
          <a:lstStyle>
            <a:lvl1pPr algn="r">
              <a:lnSpc>
                <a:spcPct val="100000"/>
              </a:lnSpc>
              <a:spcBef>
                <a:spcPct val="110000"/>
              </a:spcBef>
              <a:spcAft>
                <a:spcPct val="110000"/>
              </a:spcAft>
              <a:defRPr sz="800" b="0" i="0">
                <a:latin typeface="Arial"/>
              </a:defRPr>
            </a:lvl1pPr>
          </a:lstStyle>
          <a:p>
            <a:fld id="{4146F901-79EA-41B8-B83B-89B0E2FED71F}" type="slidenum">
              <a:rPr lang="de-DE" smtClean="0"/>
              <a:pPr/>
              <a:t>‹Nº›</a:t>
            </a:fld>
            <a:endParaRPr lang="de-DE"/>
          </a:p>
        </p:txBody>
      </p:sp>
      <p:sp>
        <p:nvSpPr>
          <p:cNvPr id="5" name="FussPlaz"/>
          <p:cNvSpPr>
            <a:spLocks noGrp="1"/>
          </p:cNvSpPr>
          <p:nvPr>
            <p:ph type="ftr" sz="quarter" idx="11"/>
          </p:nvPr>
        </p:nvSpPr>
        <p:spPr>
          <a:xfrm>
            <a:off x="7438999" y="6630134"/>
            <a:ext cx="64" cy="184666"/>
          </a:xfrm>
        </p:spPr>
        <p:txBody>
          <a:bodyPr lIns="0" tIns="0" rIns="0" bIns="0" anchor="b"/>
          <a:lstStyle>
            <a:lvl1pPr algn="ctr">
              <a:lnSpc>
                <a:spcPct val="100000"/>
              </a:lnSpc>
              <a:spcBef>
                <a:spcPct val="110000"/>
              </a:spcBef>
              <a:spcAft>
                <a:spcPct val="110000"/>
              </a:spcAft>
              <a:defRPr sz="1200" b="0" i="0">
                <a:latin typeface="Arial"/>
              </a:defRPr>
            </a:lvl1pPr>
          </a:lstStyle>
          <a:p>
            <a:endParaRPr lang="de-DE"/>
          </a:p>
        </p:txBody>
      </p:sp>
      <p:sp>
        <p:nvSpPr>
          <p:cNvPr id="4" name="DatumPlaz"/>
          <p:cNvSpPr>
            <a:spLocks noGrp="1"/>
          </p:cNvSpPr>
          <p:nvPr>
            <p:ph type="dt" sz="half" idx="10"/>
          </p:nvPr>
        </p:nvSpPr>
        <p:spPr>
          <a:xfrm>
            <a:off x="2879625" y="6645600"/>
            <a:ext cx="959875" cy="151200"/>
          </a:xfrm>
        </p:spPr>
        <p:txBody>
          <a:bodyPr lIns="0" tIns="0" rIns="0" bIns="0" anchor="b"/>
          <a:lstStyle>
            <a:lvl1pPr algn="l">
              <a:lnSpc>
                <a:spcPct val="100000"/>
              </a:lnSpc>
              <a:spcBef>
                <a:spcPct val="110000"/>
              </a:spcBef>
              <a:spcAft>
                <a:spcPct val="110000"/>
              </a:spcAft>
              <a:defRPr sz="800" b="0" i="0">
                <a:latin typeface="Arial"/>
              </a:defRPr>
            </a:lvl1pPr>
          </a:lstStyle>
          <a:p>
            <a:r>
              <a:rPr lang="de-DE"/>
              <a:t>13.12.2012</a:t>
            </a:r>
          </a:p>
        </p:txBody>
      </p:sp>
    </p:spTree>
    <p:extLst>
      <p:ext uri="{BB962C8B-B14F-4D97-AF65-F5344CB8AC3E}">
        <p14:creationId xmlns:p14="http://schemas.microsoft.com/office/powerpoint/2010/main" val="8912205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25956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elfolie (1)">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8159" name="Slide do think-cell" r:id="rId7" imgW="270" imgH="270" progId="TCLayout.ActiveDocument.1">
                  <p:embed/>
                </p:oleObj>
              </mc:Choice>
              <mc:Fallback>
                <p:oleObj name="Slide do think-cell" r:id="rId7" imgW="270" imgH="270" progId="TCLayout.ActiveDocument.1">
                  <p:embed/>
                  <p:pic>
                    <p:nvPicPr>
                      <p:cNvPr id="10" name="Objekt 9" hidden="1"/>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 name="TitelPlaz"/>
          <p:cNvSpPr>
            <a:spLocks noGrp="1"/>
          </p:cNvSpPr>
          <p:nvPr>
            <p:ph type="ctrTitle"/>
          </p:nvPr>
        </p:nvSpPr>
        <p:spPr>
          <a:xfrm>
            <a:off x="2879625" y="4896000"/>
            <a:ext cx="8974832" cy="95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lstStyle>
            <a:lvl1pPr>
              <a:lnSpc>
                <a:spcPct val="95000"/>
              </a:lnSpc>
              <a:spcBef>
                <a:spcPts val="0"/>
              </a:spcBef>
              <a:spcAft>
                <a:spcPts val="0"/>
              </a:spcAft>
              <a:defRPr lang="de-DE" sz="3000">
                <a:solidFill>
                  <a:schemeClr val="accent1"/>
                </a:solidFill>
                <a:latin typeface="Arial" pitchFamily="34" charset="0"/>
                <a:cs typeface="Arial" pitchFamily="34" charset="0"/>
              </a:defRPr>
            </a:lvl1pPr>
          </a:lstStyle>
          <a:p>
            <a:pPr lvl="0"/>
            <a:r>
              <a:rPr lang="de-DE" dirty="0"/>
              <a:t>Titelmasterformat durch Klicken bearbeiten</a:t>
            </a:r>
          </a:p>
        </p:txBody>
      </p:sp>
      <p:sp>
        <p:nvSpPr>
          <p:cNvPr id="3" name="TextPlaz"/>
          <p:cNvSpPr>
            <a:spLocks noGrp="1"/>
          </p:cNvSpPr>
          <p:nvPr>
            <p:ph type="subTitle" idx="1"/>
          </p:nvPr>
        </p:nvSpPr>
        <p:spPr>
          <a:xfrm>
            <a:off x="2879625" y="6048000"/>
            <a:ext cx="8974832" cy="432000"/>
          </a:xfrm>
          <a:prstGeom prst="rect">
            <a:avLst/>
          </a:prstGeom>
        </p:spPr>
        <p:txBody>
          <a:bodyPr lIns="0" tIns="0" rIns="0" bIns="0" anchor="b" anchorCtr="0"/>
          <a:lstStyle>
            <a:lvl1pPr marL="0" indent="0" algn="l">
              <a:lnSpc>
                <a:spcPct val="95000"/>
              </a:lnSpc>
              <a:spcBef>
                <a:spcPts val="600"/>
              </a:spcBef>
              <a:spcAft>
                <a:spcPts val="0"/>
              </a:spcAft>
              <a:buNone/>
              <a:defRPr sz="2000" b="0" i="0">
                <a:solidFill>
                  <a:schemeClr val="accent6"/>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SeitePlaz"/>
          <p:cNvSpPr>
            <a:spLocks noGrp="1"/>
          </p:cNvSpPr>
          <p:nvPr>
            <p:ph type="sldNum" sz="quarter" idx="10"/>
            <p:custDataLst>
              <p:tags r:id="rId3"/>
            </p:custDataLst>
          </p:nvPr>
        </p:nvSpPr>
        <p:spPr/>
        <p:txBody>
          <a:bodyPr/>
          <a:lstStyle>
            <a:lvl1pPr>
              <a:defRPr/>
            </a:lvl1pPr>
          </a:lstStyle>
          <a:p>
            <a:pPr>
              <a:defRPr/>
            </a:pPr>
            <a:fld id="{0A7F09F0-186A-4BF7-AF8A-CDBD39C656CC}" type="slidenum">
              <a:rPr lang="de-DE" smtClean="0"/>
              <a:pPr>
                <a:defRPr/>
              </a:pPr>
              <a:t>‹Nº›</a:t>
            </a:fld>
            <a:endParaRPr lang="de-DE"/>
          </a:p>
        </p:txBody>
      </p:sp>
      <p:sp>
        <p:nvSpPr>
          <p:cNvPr id="5" name="FussPlaz"/>
          <p:cNvSpPr>
            <a:spLocks noGrp="1"/>
          </p:cNvSpPr>
          <p:nvPr>
            <p:ph type="ftr" sz="quarter" idx="11"/>
            <p:custDataLst>
              <p:tags r:id="rId4"/>
            </p:custDataLst>
          </p:nvPr>
        </p:nvSpPr>
        <p:spPr/>
        <p:txBody>
          <a:bodyPr/>
          <a:lstStyle>
            <a:lvl1pPr>
              <a:defRPr/>
            </a:lvl1pPr>
          </a:lstStyle>
          <a:p>
            <a:pPr>
              <a:defRPr/>
            </a:pPr>
            <a:endParaRPr lang="de-DE"/>
          </a:p>
        </p:txBody>
      </p:sp>
      <p:sp>
        <p:nvSpPr>
          <p:cNvPr id="6" name="DatumPlaz"/>
          <p:cNvSpPr>
            <a:spLocks noGrp="1"/>
          </p:cNvSpPr>
          <p:nvPr>
            <p:ph type="dt" sz="half" idx="12"/>
            <p:custDataLst>
              <p:tags r:id="rId5"/>
            </p:custDataLst>
          </p:nvPr>
        </p:nvSpPr>
        <p:spPr/>
        <p:txBody>
          <a:bodyPr/>
          <a:lstStyle>
            <a:lvl1pPr>
              <a:defRPr/>
            </a:lvl1pPr>
          </a:lstStyle>
          <a:p>
            <a:pPr>
              <a:defRPr/>
            </a:pPr>
            <a:fld id="{DCF4A5CA-A1B6-4AE7-A0E5-D607363EF2A3}" type="datetime1">
              <a:rPr lang="en-US" smtClean="0"/>
              <a:t>11/3/2017</a:t>
            </a:fld>
            <a:endParaRPr lang="de-DE"/>
          </a:p>
        </p:txBody>
      </p:sp>
    </p:spTree>
    <p:extLst>
      <p:ext uri="{BB962C8B-B14F-4D97-AF65-F5344CB8AC3E}">
        <p14:creationId xmlns:p14="http://schemas.microsoft.com/office/powerpoint/2010/main" val="51698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Nur Titel (11)">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0" y="0"/>
          <a:ext cx="211639" cy="158750"/>
        </p:xfrm>
        <a:graphic>
          <a:graphicData uri="http://schemas.openxmlformats.org/presentationml/2006/ole">
            <mc:AlternateContent xmlns:mc="http://schemas.openxmlformats.org/markup-compatibility/2006">
              <mc:Choice xmlns:v="urn:schemas-microsoft-com:vml" Requires="v">
                <p:oleObj spid="_x0000_s49183" name="Slide do think-cell" r:id="rId8" imgW="6350000" imgH="6350000" progId="TCLayout.ActiveDocument.1">
                  <p:embed/>
                </p:oleObj>
              </mc:Choice>
              <mc:Fallback>
                <p:oleObj name="Slide do think-cell" r:id="rId8" imgW="6350000" imgH="6350000" progId="TCLayout.ActiveDocument.1">
                  <p:embed/>
                  <p:pic>
                    <p:nvPicPr>
                      <p:cNvPr id="6" name="Objekt 5"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2116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z"/>
          <p:cNvSpPr>
            <a:spLocks noGrp="1"/>
          </p:cNvSpPr>
          <p:nvPr>
            <p:ph type="title"/>
            <p:custDataLst>
              <p:tags r:id="rId3"/>
            </p:custDataLst>
          </p:nvPr>
        </p:nvSpPr>
        <p:spPr>
          <a:xfrm>
            <a:off x="287962" y="640800"/>
            <a:ext cx="9502763" cy="853200"/>
          </a:xfrm>
          <a:prstGeom prst="rect">
            <a:avLst/>
          </a:prstGeom>
        </p:spPr>
        <p:txBody>
          <a:bodyPr/>
          <a:lstStyle>
            <a:lvl1pPr>
              <a:defRPr/>
            </a:lvl1pPr>
          </a:lstStyle>
          <a:p>
            <a:r>
              <a:rPr lang="de-DE"/>
              <a:t>Titelmasterformat durch Klicken bearbeiten</a:t>
            </a:r>
          </a:p>
        </p:txBody>
      </p:sp>
      <p:sp>
        <p:nvSpPr>
          <p:cNvPr id="3" name="SeitePlaz"/>
          <p:cNvSpPr>
            <a:spLocks noGrp="1"/>
          </p:cNvSpPr>
          <p:nvPr>
            <p:ph type="sldNum" sz="quarter" idx="10"/>
            <p:custDataLst>
              <p:tags r:id="rId4"/>
            </p:custDataLst>
          </p:nvPr>
        </p:nvSpPr>
        <p:spPr/>
        <p:txBody>
          <a:bodyPr/>
          <a:lstStyle>
            <a:lvl1pPr>
              <a:defRPr/>
            </a:lvl1pPr>
          </a:lstStyle>
          <a:p>
            <a:fld id="{58F8B7A0-D549-4FD1-AE78-D1C36FE8F368}" type="slidenum">
              <a:rPr lang="de-DE" smtClean="0"/>
              <a:pPr/>
              <a:t>‹Nº›</a:t>
            </a:fld>
            <a:endParaRPr lang="de-DE"/>
          </a:p>
        </p:txBody>
      </p:sp>
      <p:sp>
        <p:nvSpPr>
          <p:cNvPr id="4" name="FussPlaz"/>
          <p:cNvSpPr>
            <a:spLocks noGrp="1"/>
          </p:cNvSpPr>
          <p:nvPr>
            <p:ph type="ftr" sz="quarter" idx="11"/>
            <p:custDataLst>
              <p:tags r:id="rId5"/>
            </p:custDataLst>
          </p:nvPr>
        </p:nvSpPr>
        <p:spPr/>
        <p:txBody>
          <a:bodyPr/>
          <a:lstStyle>
            <a:lvl1pPr>
              <a:defRPr/>
            </a:lvl1pPr>
          </a:lstStyle>
          <a:p>
            <a:endParaRPr lang="de-DE"/>
          </a:p>
        </p:txBody>
      </p:sp>
      <p:sp>
        <p:nvSpPr>
          <p:cNvPr id="5" name="DatumPlaz"/>
          <p:cNvSpPr>
            <a:spLocks noGrp="1"/>
          </p:cNvSpPr>
          <p:nvPr>
            <p:ph type="dt" sz="half" idx="12"/>
            <p:custDataLst>
              <p:tags r:id="rId6"/>
            </p:custDataLst>
          </p:nvPr>
        </p:nvSpPr>
        <p:spPr/>
        <p:txBody>
          <a:bodyPr/>
          <a:lstStyle>
            <a:lvl1pPr>
              <a:defRPr/>
            </a:lvl1pPr>
          </a:lstStyle>
          <a:p>
            <a:fld id="{1F4A07AB-4C7A-4546-B3BC-B6420C6455DF}" type="datetime1">
              <a:rPr lang="en-US" smtClean="0"/>
              <a:t>11/3/2017</a:t>
            </a:fld>
            <a:endParaRPr lang="de-DE"/>
          </a:p>
        </p:txBody>
      </p:sp>
    </p:spTree>
    <p:extLst>
      <p:ext uri="{BB962C8B-B14F-4D97-AF65-F5344CB8AC3E}">
        <p14:creationId xmlns:p14="http://schemas.microsoft.com/office/powerpoint/2010/main" val="214316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theme" Target="../theme/theme1.xml"/><Relationship Id="rId7"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 Id="rId9" Type="http://schemas.openxmlformats.org/officeDocument/2006/relationships/image" Target="../media/image1.tif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3" Type="http://schemas.openxmlformats.org/officeDocument/2006/relationships/slideLayout" Target="../slideLayouts/slideLayout5.xml"/><Relationship Id="rId7" Type="http://schemas.openxmlformats.org/officeDocument/2006/relationships/tags" Target="../tags/tag11.xml"/><Relationship Id="rId12" Type="http://schemas.openxmlformats.org/officeDocument/2006/relationships/tags" Target="../tags/tag16.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heme" Target="../theme/theme2.xml"/><Relationship Id="rId11" Type="http://schemas.openxmlformats.org/officeDocument/2006/relationships/tags" Target="../tags/tag15.xml"/><Relationship Id="rId5" Type="http://schemas.openxmlformats.org/officeDocument/2006/relationships/slideLayout" Target="../slideLayouts/slideLayout7.xml"/><Relationship Id="rId10" Type="http://schemas.openxmlformats.org/officeDocument/2006/relationships/tags" Target="../tags/tag14.xml"/><Relationship Id="rId4" Type="http://schemas.openxmlformats.org/officeDocument/2006/relationships/slideLayout" Target="../slideLayouts/slideLayout6.xml"/><Relationship Id="rId9" Type="http://schemas.openxmlformats.org/officeDocument/2006/relationships/tags" Target="../tags/tag13.xml"/><Relationship Id="rId14" Type="http://schemas.openxmlformats.org/officeDocument/2006/relationships/image" Target="../media/image3.tif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oleObject" Target="../embeddings/oleObject3.bin"/><Relationship Id="rId3" Type="http://schemas.openxmlformats.org/officeDocument/2006/relationships/slideLayout" Target="../slideLayouts/slideLayout10.xml"/><Relationship Id="rId7" Type="http://schemas.openxmlformats.org/officeDocument/2006/relationships/tags" Target="../tags/tag32.xml"/><Relationship Id="rId12" Type="http://schemas.openxmlformats.org/officeDocument/2006/relationships/tags" Target="../tags/tag37.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vmlDrawing" Target="../drawings/vmlDrawing3.vml"/><Relationship Id="rId15" Type="http://schemas.openxmlformats.org/officeDocument/2006/relationships/image" Target="../media/image5.tiff"/><Relationship Id="rId10" Type="http://schemas.openxmlformats.org/officeDocument/2006/relationships/tags" Target="../tags/tag35.xml"/><Relationship Id="rId4" Type="http://schemas.openxmlformats.org/officeDocument/2006/relationships/theme" Target="../theme/theme3.xml"/><Relationship Id="rId9" Type="http://schemas.openxmlformats.org/officeDocument/2006/relationships/tags" Target="../tags/tag34.xml"/><Relationship Id="rId14" Type="http://schemas.openxmlformats.org/officeDocument/2006/relationships/image" Target="../media/image4.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3" Type="http://schemas.openxmlformats.org/officeDocument/2006/relationships/slideLayout" Target="../slideLayouts/slideLayout13.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slideLayout" Target="../slideLayouts/slideLayout12.xml"/><Relationship Id="rId16" Type="http://schemas.openxmlformats.org/officeDocument/2006/relationships/image" Target="../media/image7.tiff"/><Relationship Id="rId1" Type="http://schemas.openxmlformats.org/officeDocument/2006/relationships/slideLayout" Target="../slideLayouts/slideLayout11.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vmlDrawing" Target="../drawings/vmlDrawing7.vml"/><Relationship Id="rId15" Type="http://schemas.openxmlformats.org/officeDocument/2006/relationships/image" Target="../media/image4.emf"/><Relationship Id="rId10" Type="http://schemas.openxmlformats.org/officeDocument/2006/relationships/tags" Target="../tags/tag52.xml"/><Relationship Id="rId4" Type="http://schemas.openxmlformats.org/officeDocument/2006/relationships/theme" Target="../theme/theme4.xml"/><Relationship Id="rId9" Type="http://schemas.openxmlformats.org/officeDocument/2006/relationships/tags" Target="../tags/tag51.xml"/><Relationship Id="rId14" Type="http://schemas.openxmlformats.org/officeDocument/2006/relationships/oleObject" Target="../embeddings/oleObject7.bin"/></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theme" Target="../theme/theme5.xml"/><Relationship Id="rId1" Type="http://schemas.openxmlformats.org/officeDocument/2006/relationships/slideLayout" Target="../slideLayouts/slideLayout14.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image" Target="../media/image3.tiff"/><Relationship Id="rId3" Type="http://schemas.openxmlformats.org/officeDocument/2006/relationships/slideLayout" Target="../slideLayouts/slideLayout17.xml"/><Relationship Id="rId7" Type="http://schemas.openxmlformats.org/officeDocument/2006/relationships/tags" Target="../tags/tag73.xml"/><Relationship Id="rId12" Type="http://schemas.openxmlformats.org/officeDocument/2006/relationships/tags" Target="../tags/tag78.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heme" Target="../theme/theme6.xml"/><Relationship Id="rId10" Type="http://schemas.openxmlformats.org/officeDocument/2006/relationships/tags" Target="../tags/tag76.xml"/><Relationship Id="rId4" Type="http://schemas.openxmlformats.org/officeDocument/2006/relationships/slideLayout" Target="../slideLayouts/slideLayout18.xml"/><Relationship Id="rId9" Type="http://schemas.openxmlformats.org/officeDocument/2006/relationships/tags" Target="../tags/tag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ix/0,6/0/4,8/19,05"/>
          <p:cNvSpPr>
            <a:spLocks noChangeArrowheads="1"/>
          </p:cNvSpPr>
          <p:nvPr userDrawn="1">
            <p:custDataLst>
              <p:tags r:id="rId4"/>
            </p:custDataLst>
          </p:nvPr>
        </p:nvSpPr>
        <p:spPr bwMode="auto">
          <a:xfrm>
            <a:off x="216027" y="0"/>
            <a:ext cx="1728216" cy="6858857"/>
          </a:xfrm>
          <a:prstGeom prst="rect">
            <a:avLst/>
          </a:prstGeom>
          <a:solidFill>
            <a:srgbClr val="9BD4E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6" name="SeitePlaz"/>
          <p:cNvSpPr>
            <a:spLocks noGrp="1"/>
          </p:cNvSpPr>
          <p:nvPr>
            <p:ph type="sldNum" sz="quarter" idx="4"/>
            <p:custDataLst>
              <p:tags r:id="rId5"/>
            </p:custDataLst>
          </p:nvPr>
        </p:nvSpPr>
        <p:spPr>
          <a:xfrm>
            <a:off x="8209026" y="6646431"/>
            <a:ext cx="720090" cy="151219"/>
          </a:xfrm>
          <a:prstGeom prst="rect">
            <a:avLst/>
          </a:prstGeom>
        </p:spPr>
        <p:txBody>
          <a:bodyPr vert="horz" lIns="0" tIns="0" rIns="0" bIns="0" rtlCol="0" anchor="b"/>
          <a:lstStyle>
            <a:lvl1pPr algn="r">
              <a:lnSpc>
                <a:spcPct val="100000"/>
              </a:lnSpc>
              <a:spcBef>
                <a:spcPct val="110000"/>
              </a:spcBef>
              <a:spcAft>
                <a:spcPct val="110000"/>
              </a:spcAft>
              <a:defRPr sz="800" b="0" i="0">
                <a:solidFill>
                  <a:schemeClr val="tx1">
                    <a:tint val="75000"/>
                  </a:schemeClr>
                </a:solidFill>
                <a:latin typeface="Arial"/>
              </a:defRPr>
            </a:lvl1pPr>
          </a:lstStyle>
          <a:p>
            <a:fld id="{3CE899F9-3946-41BC-AB25-3619C98F7D67}" type="slidenum">
              <a:rPr lang="de-DE" smtClean="0"/>
              <a:pPr/>
              <a:t>‹Nº›</a:t>
            </a:fld>
            <a:endParaRPr lang="de-DE"/>
          </a:p>
        </p:txBody>
      </p:sp>
      <p:sp>
        <p:nvSpPr>
          <p:cNvPr id="5" name="FussPlaz"/>
          <p:cNvSpPr>
            <a:spLocks noGrp="1"/>
          </p:cNvSpPr>
          <p:nvPr>
            <p:ph type="ftr" sz="quarter" idx="3"/>
            <p:custDataLst>
              <p:tags r:id="rId6"/>
            </p:custDataLst>
          </p:nvPr>
        </p:nvSpPr>
        <p:spPr>
          <a:xfrm>
            <a:off x="2880360" y="6718440"/>
            <a:ext cx="5400675" cy="97212"/>
          </a:xfrm>
          <a:prstGeom prst="rect">
            <a:avLst/>
          </a:prstGeom>
        </p:spPr>
        <p:txBody>
          <a:bodyPr vert="horz" wrap="none" lIns="0" tIns="0" rIns="0" bIns="0" rtlCol="0" anchor="b">
            <a:spAutoFit/>
          </a:bodyPr>
          <a:lstStyle>
            <a:lvl1pPr>
              <a:defRPr lang="de-DE" sz="1200" b="0" i="0" smtClean="0">
                <a:solidFill>
                  <a:schemeClr val="tx1">
                    <a:tint val="75000"/>
                  </a:schemeClr>
                </a:solidFill>
                <a:latin typeface="Arial"/>
              </a:defRPr>
            </a:lvl1pPr>
          </a:lstStyle>
          <a:p>
            <a:pPr algn="ctr">
              <a:spcBef>
                <a:spcPct val="110000"/>
              </a:spcBef>
              <a:spcAft>
                <a:spcPct val="110000"/>
              </a:spcAft>
            </a:pPr>
            <a:endParaRPr lang="de-DE"/>
          </a:p>
        </p:txBody>
      </p:sp>
      <p:sp>
        <p:nvSpPr>
          <p:cNvPr id="4" name="DatumPlaz"/>
          <p:cNvSpPr>
            <a:spLocks noGrp="1"/>
          </p:cNvSpPr>
          <p:nvPr>
            <p:ph type="dt" sz="half" idx="2"/>
            <p:custDataLst>
              <p:tags r:id="rId7"/>
            </p:custDataLst>
          </p:nvPr>
        </p:nvSpPr>
        <p:spPr>
          <a:xfrm>
            <a:off x="2160270" y="6646431"/>
            <a:ext cx="720090" cy="151219"/>
          </a:xfrm>
          <a:prstGeom prst="rect">
            <a:avLst/>
          </a:prstGeom>
        </p:spPr>
        <p:txBody>
          <a:bodyPr vert="horz" lIns="0" tIns="0" rIns="0" bIns="0" rtlCol="0" anchor="b"/>
          <a:lstStyle>
            <a:lvl1pPr algn="l">
              <a:lnSpc>
                <a:spcPct val="100000"/>
              </a:lnSpc>
              <a:spcBef>
                <a:spcPct val="110000"/>
              </a:spcBef>
              <a:spcAft>
                <a:spcPct val="110000"/>
              </a:spcAft>
              <a:defRPr sz="800" b="0" i="0">
                <a:solidFill>
                  <a:schemeClr val="tx1">
                    <a:tint val="75000"/>
                  </a:schemeClr>
                </a:solidFill>
                <a:latin typeface="Arial"/>
              </a:defRPr>
            </a:lvl1pPr>
          </a:lstStyle>
          <a:p>
            <a:fld id="{5D9F3CBE-A724-4685-8762-5A9895954E9F}" type="datetime1">
              <a:rPr lang="de-DE" smtClean="0"/>
              <a:t>03.11.2017</a:t>
            </a:fld>
            <a:endParaRPr lang="de-DE"/>
          </a:p>
        </p:txBody>
      </p:sp>
      <p:sp>
        <p:nvSpPr>
          <p:cNvPr id="9" name="DokuPlaz"/>
          <p:cNvSpPr txBox="1">
            <a:spLocks/>
          </p:cNvSpPr>
          <p:nvPr userDrawn="1">
            <p:custDataLst>
              <p:tags r:id="rId8"/>
            </p:custDataLst>
          </p:nvPr>
        </p:nvSpPr>
        <p:spPr>
          <a:xfrm>
            <a:off x="2880360" y="6765246"/>
            <a:ext cx="5400675" cy="97212"/>
          </a:xfrm>
          <a:prstGeom prst="rect">
            <a:avLst/>
          </a:prstGeom>
        </p:spPr>
        <p:txBody>
          <a:bodyPr vert="horz" lIns="0" tIns="0" rIns="0" bIns="0" rtlCol="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ct val="0"/>
              </a:spcBef>
              <a:spcAft>
                <a:spcPct val="0"/>
              </a:spcAft>
            </a:pPr>
            <a:endParaRPr lang="de-DE" sz="600" b="0" i="0">
              <a:solidFill>
                <a:srgbClr val="898989"/>
              </a:solidFill>
              <a:latin typeface="Arial"/>
            </a:endParaRPr>
          </a:p>
        </p:txBody>
      </p:sp>
      <p:pic>
        <p:nvPicPr>
          <p:cNvPr id="3" name="Fix/0,6/13,64/4,8/4,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16027" y="4912077"/>
            <a:ext cx="1729016" cy="1729016"/>
          </a:xfrm>
          <a:prstGeom prst="rect">
            <a:avLst/>
          </a:prstGeom>
        </p:spPr>
      </p:pic>
    </p:spTree>
    <p:extLst>
      <p:ext uri="{BB962C8B-B14F-4D97-AF65-F5344CB8AC3E}">
        <p14:creationId xmlns:p14="http://schemas.microsoft.com/office/powerpoint/2010/main" val="3679844027"/>
      </p:ext>
    </p:extLst>
  </p:cSld>
  <p:clrMap bg1="lt1" tx1="dk1" bg2="lt2" tx2="dk2" accent1="accent1" accent2="accent2" accent3="accent3" accent4="accent4" accent5="accent5" accent6="accent6" hlink="hlink" folHlink="folHlink"/>
  <p:sldLayoutIdLst>
    <p:sldLayoutId id="2147483684" r:id="rId1"/>
    <p:sldLayoutId id="2147483688" r:id="rId2"/>
  </p:sldLayoutIdLst>
  <p:hf hdr="0" dt="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Fix/0,6/0/3,8/19,05"/>
          <p:cNvSpPr>
            <a:spLocks noChangeArrowheads="1"/>
          </p:cNvSpPr>
          <p:nvPr userDrawn="1">
            <p:custDataLst>
              <p:tags r:id="rId7"/>
            </p:custDataLst>
          </p:nvPr>
        </p:nvSpPr>
        <p:spPr bwMode="auto">
          <a:xfrm>
            <a:off x="0" y="216000"/>
            <a:ext cx="12189600" cy="1368000"/>
          </a:xfrm>
          <a:prstGeom prst="rect">
            <a:avLst/>
          </a:prstGeom>
          <a:solidFill>
            <a:srgbClr val="9BD4E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 name="TitelPlaz"/>
          <p:cNvSpPr>
            <a:spLocks noGrp="1"/>
          </p:cNvSpPr>
          <p:nvPr>
            <p:ph type="title"/>
            <p:custDataLst>
              <p:tags r:id="rId8"/>
            </p:custDataLst>
          </p:nvPr>
        </p:nvSpPr>
        <p:spPr>
          <a:xfrm>
            <a:off x="216000" y="648000"/>
            <a:ext cx="10153650" cy="853200"/>
          </a:xfrm>
          <a:prstGeom prst="rect">
            <a:avLst/>
          </a:prstGeom>
        </p:spPr>
        <p:txBody>
          <a:bodyPr vert="horz" lIns="0" tIns="0" rIns="0" bIns="0" rtlCol="0" anchor="b">
            <a:normAutofit/>
          </a:bodyPr>
          <a:lstStyle/>
          <a:p>
            <a:r>
              <a:rPr lang="de-DE" dirty="0"/>
              <a:t>Titelmasterformat durch Klicken bearbeiten</a:t>
            </a:r>
          </a:p>
        </p:txBody>
      </p:sp>
      <p:sp>
        <p:nvSpPr>
          <p:cNvPr id="3" name="TextPlaz"/>
          <p:cNvSpPr>
            <a:spLocks noGrp="1"/>
          </p:cNvSpPr>
          <p:nvPr>
            <p:ph type="body" idx="1"/>
            <p:custDataLst>
              <p:tags r:id="rId9"/>
            </p:custDataLst>
          </p:nvPr>
        </p:nvSpPr>
        <p:spPr>
          <a:xfrm>
            <a:off x="216000" y="1980000"/>
            <a:ext cx="10153650" cy="4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Bef>
                <a:spcPts val="1800"/>
              </a:spcBef>
              <a:spcAft>
                <a:spcPct val="0"/>
              </a:spcAft>
              <a:buFont typeface="Wingdings" pitchFamily="2" charset="2"/>
            </a:pPr>
            <a:r>
              <a:rPr lang="de-DE" dirty="0"/>
              <a:t>Textmasterformat bearbeiten</a:t>
            </a:r>
          </a:p>
          <a:p>
            <a:pPr marL="623888" lvl="1" indent="-266700" fontAlgn="base">
              <a:spcBef>
                <a:spcPts val="600"/>
              </a:spcBef>
              <a:spcAft>
                <a:spcPct val="0"/>
              </a:spcAft>
              <a:buSzPct val="90000"/>
              <a:buFont typeface="Wingdings 3" pitchFamily="18" charset="2"/>
              <a:buChar char="u"/>
            </a:pPr>
            <a:r>
              <a:rPr lang="de-DE" dirty="0"/>
              <a:t>Zweite Ebene</a:t>
            </a:r>
          </a:p>
          <a:p>
            <a:pPr marL="900113" lvl="2" indent="-276225" fontAlgn="base">
              <a:spcBef>
                <a:spcPct val="0"/>
              </a:spcBef>
              <a:spcAft>
                <a:spcPct val="0"/>
              </a:spcAft>
              <a:buClr>
                <a:schemeClr val="accent1"/>
              </a:buClr>
              <a:buSzPct val="95000"/>
              <a:buFont typeface="Wingdings" pitchFamily="2" charset="2"/>
              <a:buChar char="l"/>
            </a:pPr>
            <a:r>
              <a:rPr lang="de-DE" dirty="0"/>
              <a:t>Dritte Ebene</a:t>
            </a:r>
          </a:p>
          <a:p>
            <a:pPr marL="1166813" lvl="3" indent="-266700" fontAlgn="base">
              <a:spcBef>
                <a:spcPct val="0"/>
              </a:spcBef>
              <a:spcAft>
                <a:spcPct val="0"/>
              </a:spcAft>
            </a:pPr>
            <a:r>
              <a:rPr lang="de-DE" dirty="0"/>
              <a:t>Vierte Ebene</a:t>
            </a:r>
          </a:p>
        </p:txBody>
      </p:sp>
      <p:sp>
        <p:nvSpPr>
          <p:cNvPr id="6" name="SeitePlaz"/>
          <p:cNvSpPr>
            <a:spLocks noGrp="1"/>
          </p:cNvSpPr>
          <p:nvPr>
            <p:ph type="sldNum" sz="quarter" idx="4"/>
            <p:custDataLst>
              <p:tags r:id="rId10"/>
            </p:custDataLst>
          </p:nvPr>
        </p:nvSpPr>
        <p:spPr>
          <a:xfrm>
            <a:off x="10986172" y="6645600"/>
            <a:ext cx="959875" cy="151200"/>
          </a:xfrm>
          <a:prstGeom prst="rect">
            <a:avLst/>
          </a:prstGeom>
        </p:spPr>
        <p:txBody>
          <a:bodyPr vert="horz" lIns="0" tIns="0" rIns="0" bIns="0" rtlCol="0" anchor="b"/>
          <a:lstStyle>
            <a:lvl1pPr algn="r">
              <a:lnSpc>
                <a:spcPct val="100000"/>
              </a:lnSpc>
              <a:spcBef>
                <a:spcPct val="110000"/>
              </a:spcBef>
              <a:spcAft>
                <a:spcPct val="110000"/>
              </a:spcAft>
              <a:defRPr sz="800" b="0" i="0">
                <a:solidFill>
                  <a:schemeClr val="tx1">
                    <a:tint val="75000"/>
                  </a:schemeClr>
                </a:solidFill>
                <a:latin typeface="Arial"/>
              </a:defRPr>
            </a:lvl1pPr>
          </a:lstStyle>
          <a:p>
            <a:fld id="{9ED39FAB-3417-4E61-A69A-10C0CE33FFC4}" type="slidenum">
              <a:rPr lang="de-DE" smtClean="0"/>
              <a:pPr/>
              <a:t>‹Nº›</a:t>
            </a:fld>
            <a:endParaRPr lang="de-DE"/>
          </a:p>
        </p:txBody>
      </p:sp>
      <p:sp>
        <p:nvSpPr>
          <p:cNvPr id="5" name="FussPlaz"/>
          <p:cNvSpPr>
            <a:spLocks noGrp="1"/>
          </p:cNvSpPr>
          <p:nvPr>
            <p:ph type="ftr" sz="quarter" idx="3"/>
            <p:custDataLst>
              <p:tags r:id="rId11"/>
            </p:custDataLst>
          </p:nvPr>
        </p:nvSpPr>
        <p:spPr>
          <a:xfrm>
            <a:off x="5809070" y="6630134"/>
            <a:ext cx="572273" cy="184666"/>
          </a:xfrm>
          <a:prstGeom prst="rect">
            <a:avLst/>
          </a:prstGeom>
        </p:spPr>
        <p:txBody>
          <a:bodyPr vert="horz" wrap="none" lIns="0" tIns="0" rIns="0" bIns="0" rtlCol="0" anchor="b">
            <a:spAutoFit/>
          </a:bodyPr>
          <a:lstStyle>
            <a:lvl1pPr algn="ctr">
              <a:lnSpc>
                <a:spcPct val="100000"/>
              </a:lnSpc>
              <a:spcBef>
                <a:spcPct val="110000"/>
              </a:spcBef>
              <a:spcAft>
                <a:spcPct val="110000"/>
              </a:spcAft>
              <a:defRPr sz="1200" b="0" i="0">
                <a:solidFill>
                  <a:schemeClr val="tx1">
                    <a:tint val="75000"/>
                  </a:schemeClr>
                </a:solidFill>
                <a:latin typeface="Arial"/>
              </a:defRPr>
            </a:lvl1pPr>
          </a:lstStyle>
          <a:p>
            <a:endParaRPr lang="de-DE" dirty="0"/>
          </a:p>
        </p:txBody>
      </p:sp>
      <p:sp>
        <p:nvSpPr>
          <p:cNvPr id="4" name="DatumPlaz"/>
          <p:cNvSpPr>
            <a:spLocks noGrp="1"/>
          </p:cNvSpPr>
          <p:nvPr>
            <p:ph type="dt" sz="half" idx="2"/>
            <p:custDataLst>
              <p:tags r:id="rId12"/>
            </p:custDataLst>
          </p:nvPr>
        </p:nvSpPr>
        <p:spPr>
          <a:xfrm>
            <a:off x="216000" y="6645600"/>
            <a:ext cx="959875" cy="151200"/>
          </a:xfrm>
          <a:prstGeom prst="rect">
            <a:avLst/>
          </a:prstGeom>
        </p:spPr>
        <p:txBody>
          <a:bodyPr vert="horz" lIns="0" tIns="0" rIns="0" bIns="0" rtlCol="0" anchor="b"/>
          <a:lstStyle>
            <a:lvl1pPr algn="l">
              <a:lnSpc>
                <a:spcPct val="100000"/>
              </a:lnSpc>
              <a:spcBef>
                <a:spcPct val="110000"/>
              </a:spcBef>
              <a:spcAft>
                <a:spcPct val="110000"/>
              </a:spcAft>
              <a:defRPr sz="800" b="0" i="0">
                <a:solidFill>
                  <a:schemeClr val="tx1">
                    <a:tint val="75000"/>
                  </a:schemeClr>
                </a:solidFill>
                <a:latin typeface="Arial"/>
              </a:defRPr>
            </a:lvl1pPr>
          </a:lstStyle>
          <a:p>
            <a:fld id="{35664AF2-1E42-4BFE-A681-FAC337E4A3BF}" type="datetime1">
              <a:rPr lang="de-DE" smtClean="0"/>
              <a:t>03.11.2017</a:t>
            </a:fld>
            <a:endParaRPr lang="de-DE"/>
          </a:p>
        </p:txBody>
      </p:sp>
      <p:sp>
        <p:nvSpPr>
          <p:cNvPr id="13" name="DokuPlaz"/>
          <p:cNvSpPr txBox="1">
            <a:spLocks/>
          </p:cNvSpPr>
          <p:nvPr userDrawn="1">
            <p:custDataLst>
              <p:tags r:id="rId13"/>
            </p:custDataLst>
          </p:nvPr>
        </p:nvSpPr>
        <p:spPr>
          <a:xfrm>
            <a:off x="3359563" y="6764400"/>
            <a:ext cx="7535019" cy="97200"/>
          </a:xfrm>
          <a:prstGeom prst="rect">
            <a:avLst/>
          </a:prstGeom>
        </p:spPr>
        <p:txBody>
          <a:bodyPr vert="horz" lIns="0" tIns="0" rIns="0" bIns="0" rtlCol="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ct val="0"/>
              </a:spcBef>
              <a:spcAft>
                <a:spcPct val="0"/>
              </a:spcAft>
            </a:pPr>
            <a:endParaRPr lang="de-DE" sz="600" b="0" i="0">
              <a:solidFill>
                <a:srgbClr val="898989"/>
              </a:solidFill>
              <a:latin typeface="Arial"/>
            </a:endParaRPr>
          </a:p>
        </p:txBody>
      </p:sp>
      <p:pic>
        <p:nvPicPr>
          <p:cNvPr id="8" name="Fix/0,6/14,64/3,8/3,8"/>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605600" y="216000"/>
            <a:ext cx="1368000" cy="1368000"/>
          </a:xfrm>
          <a:prstGeom prst="rect">
            <a:avLst/>
          </a:prstGeom>
        </p:spPr>
      </p:pic>
    </p:spTree>
    <p:extLst>
      <p:ext uri="{BB962C8B-B14F-4D97-AF65-F5344CB8AC3E}">
        <p14:creationId xmlns:p14="http://schemas.microsoft.com/office/powerpoint/2010/main" val="1208517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5" r:id="rId3"/>
    <p:sldLayoutId id="2147483686" r:id="rId4"/>
    <p:sldLayoutId id="2147483705" r:id="rId5"/>
  </p:sldLayoutIdLst>
  <p:hf hdr="0" dt="0"/>
  <p:txStyles>
    <p:titleStyle>
      <a:lvl1pPr algn="l" defTabSz="914400" rtl="0" eaLnBrk="1" latinLnBrk="0" hangingPunct="1">
        <a:lnSpc>
          <a:spcPct val="95000"/>
        </a:lnSpc>
        <a:spcBef>
          <a:spcPct val="110000"/>
        </a:spcBef>
        <a:spcAft>
          <a:spcPct val="110000"/>
        </a:spcAft>
        <a:buNone/>
        <a:defRPr sz="2800" b="1" i="0" kern="1200">
          <a:solidFill>
            <a:srgbClr val="000000"/>
          </a:solidFill>
          <a:latin typeface="Arial"/>
          <a:ea typeface="+mj-ea"/>
          <a:cs typeface="+mj-cs"/>
        </a:defRPr>
      </a:lvl1pPr>
    </p:titleStyle>
    <p:bodyStyle>
      <a:lvl1pPr marL="342900" indent="-342900" algn="l" defTabSz="914400" rtl="0" eaLnBrk="1" latinLnBrk="0" hangingPunct="1">
        <a:lnSpc>
          <a:spcPct val="95000"/>
        </a:lnSpc>
        <a:spcBef>
          <a:spcPts val="0"/>
        </a:spcBef>
        <a:spcAft>
          <a:spcPct val="50000"/>
        </a:spcAft>
        <a:buClr>
          <a:schemeClr val="accent1"/>
        </a:buClr>
        <a:buFont typeface="Wingdings"/>
        <a:buChar char="n"/>
        <a:defRPr lang="de-DE" sz="2000" b="0" i="0" kern="1200" smtClean="0">
          <a:solidFill>
            <a:schemeClr val="tx1"/>
          </a:solidFill>
          <a:latin typeface="Arial"/>
          <a:ea typeface="+mn-ea"/>
          <a:cs typeface="+mn-cs"/>
        </a:defRPr>
      </a:lvl1pPr>
      <a:lvl2pPr marL="742950" indent="-285750" algn="l" defTabSz="914400" rtl="0" eaLnBrk="1" latinLnBrk="0" hangingPunct="1">
        <a:lnSpc>
          <a:spcPct val="95000"/>
        </a:lnSpc>
        <a:spcBef>
          <a:spcPts val="0"/>
        </a:spcBef>
        <a:spcAft>
          <a:spcPct val="50000"/>
        </a:spcAft>
        <a:buClr>
          <a:schemeClr val="accent1"/>
        </a:buClr>
        <a:buFont typeface="Wingdings"/>
        <a:buChar char="n"/>
        <a:defRPr lang="de-DE" sz="2000" b="0" i="0" kern="1200" smtClean="0">
          <a:solidFill>
            <a:schemeClr val="tx1"/>
          </a:solidFill>
          <a:latin typeface="Arial"/>
          <a:ea typeface="+mn-ea"/>
          <a:cs typeface="+mn-cs"/>
        </a:defRPr>
      </a:lvl2pPr>
      <a:lvl3pPr marL="1143000" indent="-228600" algn="l" defTabSz="914400" rtl="0" eaLnBrk="1" latinLnBrk="0" hangingPunct="1">
        <a:lnSpc>
          <a:spcPct val="95000"/>
        </a:lnSpc>
        <a:spcBef>
          <a:spcPts val="0"/>
        </a:spcBef>
        <a:spcAft>
          <a:spcPct val="50000"/>
        </a:spcAft>
        <a:buClr>
          <a:schemeClr val="tx1"/>
        </a:buClr>
        <a:buFontTx/>
        <a:buChar char="–"/>
        <a:defRPr lang="de-DE" sz="2000" b="0" i="0" kern="1200" smtClean="0">
          <a:solidFill>
            <a:schemeClr val="tx1"/>
          </a:solidFill>
          <a:latin typeface="Arial"/>
          <a:ea typeface="+mn-ea"/>
          <a:cs typeface="+mn-cs"/>
        </a:defRPr>
      </a:lvl3pPr>
      <a:lvl4pPr marL="1600200" indent="-228600" algn="l" defTabSz="914400" rtl="0" eaLnBrk="1" latinLnBrk="0" hangingPunct="1">
        <a:lnSpc>
          <a:spcPct val="95000"/>
        </a:lnSpc>
        <a:spcBef>
          <a:spcPts val="0"/>
        </a:spcBef>
        <a:spcAft>
          <a:spcPct val="50000"/>
        </a:spcAft>
        <a:buClr>
          <a:schemeClr val="tx1"/>
        </a:buClr>
        <a:buFontTx/>
        <a:buChar char="–"/>
        <a:defRPr lang="de-DE" sz="2000" b="0" i="0" kern="1200" smtClean="0">
          <a:solidFill>
            <a:schemeClr val="tx1"/>
          </a:solidFill>
          <a:latin typeface="Arial"/>
          <a:ea typeface="+mn-ea"/>
          <a:cs typeface="+mn-cs"/>
        </a:defRPr>
      </a:lvl4pPr>
      <a:lvl5pPr marL="2057400" indent="-228600" algn="l" defTabSz="914400" rtl="0" eaLnBrk="1" latinLnBrk="0" hangingPunct="1">
        <a:lnSpc>
          <a:spcPct val="95000"/>
        </a:lnSpc>
        <a:spcBef>
          <a:spcPts val="0"/>
        </a:spcBef>
        <a:spcAft>
          <a:spcPct val="50000"/>
        </a:spcAft>
        <a:buClr>
          <a:schemeClr val="tx1"/>
        </a:buClr>
        <a:buFontTx/>
        <a:buChar char="–"/>
        <a:defRPr lang="de-DE" sz="2000" b="0" i="0" kern="1200" dirty="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7135" name="Slide do think-cell" r:id="rId13" imgW="270" imgH="270" progId="TCLayout.ActiveDocument.1">
                  <p:embed/>
                </p:oleObj>
              </mc:Choice>
              <mc:Fallback>
                <p:oleObj name="Slide do think-cell" r:id="rId13" imgW="270" imgH="270" progId="TCLayout.ActiveDocument.1">
                  <p:embed/>
                  <p:pic>
                    <p:nvPicPr>
                      <p:cNvPr id="2" name="Objekt 1" hidden="1"/>
                      <p:cNvPicPr/>
                      <p:nvPr/>
                    </p:nvPicPr>
                    <p:blipFill>
                      <a:blip r:embed="rId14"/>
                      <a:stretch>
                        <a:fillRect/>
                      </a:stretch>
                    </p:blipFill>
                    <p:spPr>
                      <a:xfrm>
                        <a:off x="2118" y="1589"/>
                        <a:ext cx="2116" cy="1587"/>
                      </a:xfrm>
                      <a:prstGeom prst="rect">
                        <a:avLst/>
                      </a:prstGeom>
                    </p:spPr>
                  </p:pic>
                </p:oleObj>
              </mc:Fallback>
            </mc:AlternateContent>
          </a:graphicData>
        </a:graphic>
      </p:graphicFrame>
      <p:sp>
        <p:nvSpPr>
          <p:cNvPr id="1026" name="Fix/0,6/0/4,8/19,05"/>
          <p:cNvSpPr>
            <a:spLocks noChangeArrowheads="1"/>
          </p:cNvSpPr>
          <p:nvPr userDrawn="1">
            <p:custDataLst>
              <p:tags r:id="rId7"/>
            </p:custDataLst>
          </p:nvPr>
        </p:nvSpPr>
        <p:spPr bwMode="auto">
          <a:xfrm>
            <a:off x="287999" y="1"/>
            <a:ext cx="2303988" cy="6858857"/>
          </a:xfrm>
          <a:prstGeom prst="rect">
            <a:avLst/>
          </a:prstGeom>
          <a:solidFill>
            <a:srgbClr val="A6C0D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800">
              <a:latin typeface="Arial"/>
              <a:sym typeface="Arial"/>
            </a:endParaRPr>
          </a:p>
        </p:txBody>
      </p:sp>
      <p:sp>
        <p:nvSpPr>
          <p:cNvPr id="6" name="SeitePlaz"/>
          <p:cNvSpPr>
            <a:spLocks noGrp="1"/>
          </p:cNvSpPr>
          <p:nvPr>
            <p:ph type="sldNum" sz="quarter" idx="4"/>
            <p:custDataLst>
              <p:tags r:id="rId8"/>
            </p:custDataLst>
          </p:nvPr>
        </p:nvSpPr>
        <p:spPr>
          <a:xfrm>
            <a:off x="10943943" y="6646432"/>
            <a:ext cx="959995" cy="151219"/>
          </a:xfrm>
          <a:prstGeom prst="rect">
            <a:avLst/>
          </a:prstGeom>
        </p:spPr>
        <p:txBody>
          <a:bodyPr vert="horz" lIns="0" tIns="0" rIns="0" bIns="0" rtlCol="0" anchor="b"/>
          <a:lstStyle>
            <a:lvl1pPr algn="r" fontAlgn="auto">
              <a:lnSpc>
                <a:spcPct val="100000"/>
              </a:lnSpc>
              <a:spcBef>
                <a:spcPct val="110000"/>
              </a:spcBef>
              <a:spcAft>
                <a:spcPct val="110000"/>
              </a:spcAft>
              <a:defRPr sz="800" b="0" i="0">
                <a:solidFill>
                  <a:schemeClr val="tx1">
                    <a:tint val="75000"/>
                  </a:schemeClr>
                </a:solidFill>
                <a:latin typeface="Arial"/>
                <a:cs typeface="Arial"/>
              </a:defRPr>
            </a:lvl1pPr>
          </a:lstStyle>
          <a:p>
            <a:pPr>
              <a:defRPr/>
            </a:pPr>
            <a:fld id="{98AD104F-0028-430C-97E0-1A5A2AA3292C}" type="slidenum">
              <a:rPr lang="de-DE" smtClean="0"/>
              <a:pPr>
                <a:defRPr/>
              </a:pPr>
              <a:t>‹Nº›</a:t>
            </a:fld>
            <a:endParaRPr lang="de-DE"/>
          </a:p>
        </p:txBody>
      </p:sp>
      <p:sp>
        <p:nvSpPr>
          <p:cNvPr id="5" name="FussPlaz"/>
          <p:cNvSpPr>
            <a:spLocks noGrp="1"/>
          </p:cNvSpPr>
          <p:nvPr>
            <p:ph type="ftr" sz="quarter" idx="3"/>
            <p:custDataLst>
              <p:tags r:id="rId9"/>
            </p:custDataLst>
          </p:nvPr>
        </p:nvSpPr>
        <p:spPr>
          <a:xfrm>
            <a:off x="3839981" y="6718440"/>
            <a:ext cx="7199963" cy="97212"/>
          </a:xfrm>
          <a:prstGeom prst="rect">
            <a:avLst/>
          </a:prstGeom>
        </p:spPr>
        <p:txBody>
          <a:bodyPr vert="horz" lIns="0" tIns="0" rIns="0" bIns="0" rtlCol="0" anchor="b"/>
          <a:lstStyle>
            <a:lvl1pPr algn="ctr" fontAlgn="auto">
              <a:lnSpc>
                <a:spcPct val="100000"/>
              </a:lnSpc>
              <a:spcBef>
                <a:spcPct val="110000"/>
              </a:spcBef>
              <a:spcAft>
                <a:spcPct val="110000"/>
              </a:spcAft>
              <a:defRPr sz="1000" b="0" i="0">
                <a:solidFill>
                  <a:schemeClr val="tx1">
                    <a:tint val="75000"/>
                  </a:schemeClr>
                </a:solidFill>
                <a:latin typeface="Arial"/>
                <a:cs typeface="Arial"/>
              </a:defRPr>
            </a:lvl1pPr>
          </a:lstStyle>
          <a:p>
            <a:pPr>
              <a:defRPr/>
            </a:pPr>
            <a:endParaRPr lang="de-DE"/>
          </a:p>
        </p:txBody>
      </p:sp>
      <p:sp>
        <p:nvSpPr>
          <p:cNvPr id="4" name="DatumPlaz"/>
          <p:cNvSpPr>
            <a:spLocks noGrp="1"/>
          </p:cNvSpPr>
          <p:nvPr>
            <p:ph type="dt" sz="half" idx="2"/>
            <p:custDataLst>
              <p:tags r:id="rId10"/>
            </p:custDataLst>
          </p:nvPr>
        </p:nvSpPr>
        <p:spPr>
          <a:xfrm>
            <a:off x="2879985" y="6646432"/>
            <a:ext cx="959995" cy="151219"/>
          </a:xfrm>
          <a:prstGeom prst="rect">
            <a:avLst/>
          </a:prstGeom>
        </p:spPr>
        <p:txBody>
          <a:bodyPr vert="horz" lIns="0" tIns="0" rIns="0" bIns="0" rtlCol="0" anchor="b"/>
          <a:lstStyle>
            <a:lvl1pPr algn="l" fontAlgn="auto">
              <a:lnSpc>
                <a:spcPct val="100000"/>
              </a:lnSpc>
              <a:spcBef>
                <a:spcPct val="110000"/>
              </a:spcBef>
              <a:spcAft>
                <a:spcPct val="110000"/>
              </a:spcAft>
              <a:defRPr sz="800" b="0" i="0">
                <a:solidFill>
                  <a:schemeClr val="tx1">
                    <a:tint val="75000"/>
                  </a:schemeClr>
                </a:solidFill>
                <a:latin typeface="Arial"/>
                <a:cs typeface="Arial"/>
              </a:defRPr>
            </a:lvl1pPr>
          </a:lstStyle>
          <a:p>
            <a:pPr>
              <a:defRPr/>
            </a:pPr>
            <a:fld id="{978A25B6-1917-4385-909B-38DA6F70997D}" type="datetime1">
              <a:rPr lang="en-US" smtClean="0"/>
              <a:t>11/3/2017</a:t>
            </a:fld>
            <a:endParaRPr lang="de-DE"/>
          </a:p>
        </p:txBody>
      </p:sp>
      <p:sp>
        <p:nvSpPr>
          <p:cNvPr id="9" name="DokuPlaz"/>
          <p:cNvSpPr txBox="1">
            <a:spLocks/>
          </p:cNvSpPr>
          <p:nvPr userDrawn="1">
            <p:custDataLst>
              <p:tags r:id="rId11"/>
            </p:custDataLst>
          </p:nvPr>
        </p:nvSpPr>
        <p:spPr>
          <a:xfrm>
            <a:off x="3839981" y="6765246"/>
            <a:ext cx="7199963" cy="97212"/>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600">
              <a:solidFill>
                <a:srgbClr val="898989"/>
              </a:solidFill>
              <a:latin typeface="Arial"/>
              <a:cs typeface="Arial"/>
            </a:endParaRPr>
          </a:p>
        </p:txBody>
      </p:sp>
      <p:sp>
        <p:nvSpPr>
          <p:cNvPr id="11" name="Textfeld 10"/>
          <p:cNvSpPr txBox="1"/>
          <p:nvPr userDrawn="1"/>
        </p:nvSpPr>
        <p:spPr>
          <a:xfrm>
            <a:off x="549150" y="5068558"/>
            <a:ext cx="960199" cy="279307"/>
          </a:xfrm>
          <a:prstGeom prst="rect">
            <a:avLst/>
          </a:prstGeom>
          <a:noFill/>
        </p:spPr>
        <p:txBody>
          <a:bodyPr wrap="none" lIns="0" tIns="0" rIns="0" bIns="0" rtlCol="0" anchor="b" anchorCtr="0">
            <a:spAutoFit/>
          </a:bodyPr>
          <a:lstStyle/>
          <a:p>
            <a:pPr>
              <a:lnSpc>
                <a:spcPct val="110000"/>
              </a:lnSpc>
            </a:pPr>
            <a:r>
              <a:rPr lang="en-US" sz="1650" b="1" noProof="0" dirty="0">
                <a:solidFill>
                  <a:schemeClr val="bg1"/>
                </a:solidFill>
                <a:latin typeface="Arial" panose="020B0604020202020204" pitchFamily="34" charset="0"/>
                <a:cs typeface="Arial" panose="020B0604020202020204" pitchFamily="34" charset="0"/>
              </a:rPr>
              <a:t>150 years</a:t>
            </a:r>
          </a:p>
        </p:txBody>
      </p:sp>
      <p:pic>
        <p:nvPicPr>
          <p:cNvPr id="7" name="Fix/0,6/13,64/4,8/4,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87998" y="4911014"/>
            <a:ext cx="2307892" cy="1731144"/>
          </a:xfrm>
          <a:prstGeom prst="rect">
            <a:avLst/>
          </a:prstGeom>
        </p:spPr>
      </p:pic>
      <p:sp>
        <p:nvSpPr>
          <p:cNvPr id="10" name="Fix/32.91496/399.7334/73.58669/19.38748"/>
          <p:cNvSpPr txBox="1"/>
          <p:nvPr userDrawn="1">
            <p:custDataLst>
              <p:tags r:id="rId12"/>
            </p:custDataLst>
          </p:nvPr>
        </p:nvSpPr>
        <p:spPr>
          <a:xfrm>
            <a:off x="557288" y="5076615"/>
            <a:ext cx="934551" cy="246221"/>
          </a:xfrm>
          <a:prstGeom prst="rect">
            <a:avLst/>
          </a:prstGeom>
          <a:noFill/>
        </p:spPr>
        <p:txBody>
          <a:bodyPr vert="horz" wrap="none" lIns="0" tIns="0" rIns="0" bIns="0" rtlCol="0">
            <a:spAutoFit/>
          </a:bodyPr>
          <a:lstStyle/>
          <a:p>
            <a:r>
              <a:rPr lang="en-US" sz="1600" b="1">
                <a:solidFill>
                  <a:srgbClr val="FFFFFF"/>
                </a:solidFill>
                <a:latin typeface="Arial" panose="020B0604020202020204" pitchFamily="34" charset="0"/>
              </a:rPr>
              <a:t>150 years</a:t>
            </a:r>
          </a:p>
        </p:txBody>
      </p:sp>
    </p:spTree>
    <p:extLst>
      <p:ext uri="{BB962C8B-B14F-4D97-AF65-F5344CB8AC3E}">
        <p14:creationId xmlns:p14="http://schemas.microsoft.com/office/powerpoint/2010/main" val="293058962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0" fontAlgn="base" hangingPunct="0">
        <a:spcBef>
          <a:spcPct val="110000"/>
        </a:spcBef>
        <a:spcAft>
          <a:spcPct val="110000"/>
        </a:spcAft>
        <a:defRPr sz="2800" b="1" kern="1200">
          <a:solidFill>
            <a:srgbClr val="000000"/>
          </a:solidFill>
          <a:latin typeface="Arial"/>
          <a:ea typeface="+mj-ea"/>
          <a:cs typeface="+mj-cs"/>
        </a:defRPr>
      </a:lvl1pPr>
      <a:lvl2pPr algn="l" rtl="0" eaLnBrk="0" fontAlgn="base" hangingPunct="0">
        <a:spcBef>
          <a:spcPct val="110000"/>
        </a:spcBef>
        <a:spcAft>
          <a:spcPct val="110000"/>
        </a:spcAft>
        <a:defRPr sz="3000" b="1">
          <a:solidFill>
            <a:srgbClr val="000000"/>
          </a:solidFill>
          <a:latin typeface="Arial" pitchFamily="34" charset="0"/>
        </a:defRPr>
      </a:lvl2pPr>
      <a:lvl3pPr algn="l" rtl="0" eaLnBrk="0" fontAlgn="base" hangingPunct="0">
        <a:spcBef>
          <a:spcPct val="110000"/>
        </a:spcBef>
        <a:spcAft>
          <a:spcPct val="110000"/>
        </a:spcAft>
        <a:defRPr sz="3000" b="1">
          <a:solidFill>
            <a:srgbClr val="000000"/>
          </a:solidFill>
          <a:latin typeface="Arial" pitchFamily="34" charset="0"/>
        </a:defRPr>
      </a:lvl3pPr>
      <a:lvl4pPr algn="l" rtl="0" eaLnBrk="0" fontAlgn="base" hangingPunct="0">
        <a:spcBef>
          <a:spcPct val="110000"/>
        </a:spcBef>
        <a:spcAft>
          <a:spcPct val="110000"/>
        </a:spcAft>
        <a:defRPr sz="3000" b="1">
          <a:solidFill>
            <a:srgbClr val="000000"/>
          </a:solidFill>
          <a:latin typeface="Arial" pitchFamily="34" charset="0"/>
        </a:defRPr>
      </a:lvl4pPr>
      <a:lvl5pPr algn="l" rtl="0" eaLnBrk="0" fontAlgn="base" hangingPunct="0">
        <a:spcBef>
          <a:spcPct val="110000"/>
        </a:spcBef>
        <a:spcAft>
          <a:spcPct val="110000"/>
        </a:spcAft>
        <a:defRPr sz="3000" b="1">
          <a:solidFill>
            <a:srgbClr val="000000"/>
          </a:solidFill>
          <a:latin typeface="Arial" pitchFamily="34" charset="0"/>
        </a:defRPr>
      </a:lvl5pPr>
      <a:lvl6pPr marL="457200" algn="l" rtl="0" fontAlgn="base">
        <a:spcBef>
          <a:spcPct val="110000"/>
        </a:spcBef>
        <a:spcAft>
          <a:spcPct val="110000"/>
        </a:spcAft>
        <a:defRPr sz="3000" b="1">
          <a:solidFill>
            <a:srgbClr val="000000"/>
          </a:solidFill>
          <a:latin typeface="Arial" pitchFamily="34" charset="0"/>
        </a:defRPr>
      </a:lvl6pPr>
      <a:lvl7pPr marL="914400" algn="l" rtl="0" fontAlgn="base">
        <a:spcBef>
          <a:spcPct val="110000"/>
        </a:spcBef>
        <a:spcAft>
          <a:spcPct val="110000"/>
        </a:spcAft>
        <a:defRPr sz="3000" b="1">
          <a:solidFill>
            <a:srgbClr val="000000"/>
          </a:solidFill>
          <a:latin typeface="Arial" pitchFamily="34" charset="0"/>
        </a:defRPr>
      </a:lvl7pPr>
      <a:lvl8pPr marL="1371600" algn="l" rtl="0" fontAlgn="base">
        <a:spcBef>
          <a:spcPct val="110000"/>
        </a:spcBef>
        <a:spcAft>
          <a:spcPct val="110000"/>
        </a:spcAft>
        <a:defRPr sz="3000" b="1">
          <a:solidFill>
            <a:srgbClr val="000000"/>
          </a:solidFill>
          <a:latin typeface="Arial" pitchFamily="34" charset="0"/>
        </a:defRPr>
      </a:lvl8pPr>
      <a:lvl9pPr marL="1828800" algn="l" rtl="0" fontAlgn="base">
        <a:spcBef>
          <a:spcPct val="110000"/>
        </a:spcBef>
        <a:spcAft>
          <a:spcPct val="110000"/>
        </a:spcAft>
        <a:defRPr sz="3000" b="1">
          <a:solidFill>
            <a:srgbClr val="000000"/>
          </a:solidFill>
          <a:latin typeface="Arial" pitchFamily="34" charset="0"/>
        </a:defRPr>
      </a:lvl9pPr>
    </p:titleStyle>
    <p:bodyStyle>
      <a:lvl1pPr marL="342900" indent="-342900" algn="l" rtl="0" eaLnBrk="0" fontAlgn="base" hangingPunct="0">
        <a:lnSpc>
          <a:spcPct val="110000"/>
        </a:lnSpc>
        <a:spcBef>
          <a:spcPct val="0"/>
        </a:spcBef>
        <a:spcAft>
          <a:spcPct val="50000"/>
        </a:spcAft>
        <a:buClr>
          <a:schemeClr val="accent1"/>
        </a:buClr>
        <a:buFont typeface="Wingdings" pitchFamily="2" charset="2"/>
        <a:buChar char="n"/>
        <a:defRPr sz="2000" kern="1200">
          <a:solidFill>
            <a:schemeClr val="tx1"/>
          </a:solidFill>
          <a:latin typeface="Arial"/>
          <a:ea typeface="+mn-ea"/>
          <a:cs typeface="+mn-cs"/>
        </a:defRPr>
      </a:lvl1pPr>
      <a:lvl2pPr marL="742950" indent="-285750" algn="l" rtl="0" eaLnBrk="0" fontAlgn="base" hangingPunct="0">
        <a:lnSpc>
          <a:spcPct val="110000"/>
        </a:lnSpc>
        <a:spcBef>
          <a:spcPct val="0"/>
        </a:spcBef>
        <a:spcAft>
          <a:spcPct val="50000"/>
        </a:spcAft>
        <a:buClr>
          <a:schemeClr val="accent1"/>
        </a:buClr>
        <a:buFont typeface="Wingdings" pitchFamily="2" charset="2"/>
        <a:buChar char="n"/>
        <a:defRPr sz="2000" kern="1200">
          <a:solidFill>
            <a:schemeClr val="tx1"/>
          </a:solidFill>
          <a:latin typeface="Arial"/>
          <a:ea typeface="+mn-ea"/>
          <a:cs typeface="+mn-cs"/>
        </a:defRPr>
      </a:lvl2pPr>
      <a:lvl3pPr marL="1143000" indent="-228600" algn="l" rtl="0" eaLnBrk="0" fontAlgn="base" hangingPunct="0">
        <a:lnSpc>
          <a:spcPct val="110000"/>
        </a:lnSpc>
        <a:spcBef>
          <a:spcPct val="0"/>
        </a:spcBef>
        <a:spcAft>
          <a:spcPct val="50000"/>
        </a:spcAft>
        <a:buClr>
          <a:schemeClr val="tx1"/>
        </a:buClr>
        <a:buChar char="–"/>
        <a:defRPr sz="2000" kern="1200">
          <a:solidFill>
            <a:schemeClr val="tx1"/>
          </a:solidFill>
          <a:latin typeface="Arial"/>
          <a:ea typeface="+mn-ea"/>
          <a:cs typeface="+mn-cs"/>
        </a:defRPr>
      </a:lvl3pPr>
      <a:lvl4pPr marL="1600200" indent="-228600" algn="l" rtl="0" eaLnBrk="0" fontAlgn="base" hangingPunct="0">
        <a:lnSpc>
          <a:spcPct val="110000"/>
        </a:lnSpc>
        <a:spcBef>
          <a:spcPct val="0"/>
        </a:spcBef>
        <a:spcAft>
          <a:spcPct val="50000"/>
        </a:spcAft>
        <a:buClr>
          <a:schemeClr val="tx1"/>
        </a:buClr>
        <a:buChar char="–"/>
        <a:defRPr sz="2000" kern="1200">
          <a:solidFill>
            <a:schemeClr val="tx1"/>
          </a:solidFill>
          <a:latin typeface="Arial"/>
          <a:ea typeface="+mn-ea"/>
          <a:cs typeface="+mn-cs"/>
        </a:defRPr>
      </a:lvl4pPr>
      <a:lvl5pPr marL="2057400" indent="-228600" algn="l" rtl="0" eaLnBrk="0" fontAlgn="base" hangingPunct="0">
        <a:lnSpc>
          <a:spcPct val="110000"/>
        </a:lnSpc>
        <a:spcBef>
          <a:spcPct val="0"/>
        </a:spcBef>
        <a:spcAft>
          <a:spcPct val="50000"/>
        </a:spcAft>
        <a:buClr>
          <a:schemeClr val="tx1"/>
        </a:buClr>
        <a:buChar char="–"/>
        <a:defRPr sz="200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2255" name="Slide do think-cell" r:id="rId14" imgW="270" imgH="270" progId="TCLayout.ActiveDocument.1">
                  <p:embed/>
                </p:oleObj>
              </mc:Choice>
              <mc:Fallback>
                <p:oleObj name="Slide do think-cell" r:id="rId14" imgW="270" imgH="270" progId="TCLayout.ActiveDocument.1">
                  <p:embed/>
                  <p:pic>
                    <p:nvPicPr>
                      <p:cNvPr id="2" name="Objekt 1" hidden="1"/>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2050" name="Fix/0/0,6/25,39/3,8"/>
          <p:cNvSpPr>
            <a:spLocks noChangeAspect="1" noChangeArrowheads="1"/>
          </p:cNvSpPr>
          <p:nvPr userDrawn="1">
            <p:custDataLst>
              <p:tags r:id="rId7"/>
            </p:custDataLst>
          </p:nvPr>
        </p:nvSpPr>
        <p:spPr bwMode="auto">
          <a:xfrm>
            <a:off x="1" y="215901"/>
            <a:ext cx="12186180" cy="1368425"/>
          </a:xfrm>
          <a:prstGeom prst="rect">
            <a:avLst/>
          </a:prstGeom>
          <a:solidFill>
            <a:srgbClr val="A6C0D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1800">
              <a:latin typeface="Arial"/>
              <a:sym typeface="Arial"/>
            </a:endParaRPr>
          </a:p>
        </p:txBody>
      </p:sp>
      <p:sp>
        <p:nvSpPr>
          <p:cNvPr id="2052" name="TitelPlaz"/>
          <p:cNvSpPr>
            <a:spLocks noGrp="1"/>
          </p:cNvSpPr>
          <p:nvPr>
            <p:ph type="title"/>
            <p:custDataLst>
              <p:tags r:id="rId8"/>
            </p:custDataLst>
          </p:nvPr>
        </p:nvSpPr>
        <p:spPr bwMode="auto">
          <a:xfrm>
            <a:off x="287830" y="641350"/>
            <a:ext cx="9502596" cy="852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de-DE" dirty="0"/>
              <a:t>Titelmasterformat durch Klicken bearbeiten</a:t>
            </a:r>
          </a:p>
        </p:txBody>
      </p:sp>
      <p:sp>
        <p:nvSpPr>
          <p:cNvPr id="2053" name="TextPlaz"/>
          <p:cNvSpPr>
            <a:spLocks noGrp="1"/>
          </p:cNvSpPr>
          <p:nvPr>
            <p:ph type="body" idx="1"/>
            <p:custDataLst>
              <p:tags r:id="rId9"/>
            </p:custDataLst>
          </p:nvPr>
        </p:nvSpPr>
        <p:spPr bwMode="auto">
          <a:xfrm>
            <a:off x="287829" y="1980000"/>
            <a:ext cx="11614755" cy="4436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6" name="SeitePlaz"/>
          <p:cNvSpPr>
            <a:spLocks noGrp="1"/>
          </p:cNvSpPr>
          <p:nvPr>
            <p:ph type="sldNum" sz="quarter" idx="4"/>
            <p:custDataLst>
              <p:tags r:id="rId10"/>
            </p:custDataLst>
          </p:nvPr>
        </p:nvSpPr>
        <p:spPr>
          <a:xfrm>
            <a:off x="10941743" y="6645276"/>
            <a:ext cx="960842" cy="150813"/>
          </a:xfrm>
          <a:prstGeom prst="rect">
            <a:avLst/>
          </a:prstGeom>
        </p:spPr>
        <p:txBody>
          <a:bodyPr vert="horz" lIns="0" tIns="0" rIns="0" bIns="0" rtlCol="0" anchor="b"/>
          <a:lstStyle>
            <a:lvl1pPr algn="r" fontAlgn="auto">
              <a:lnSpc>
                <a:spcPct val="100000"/>
              </a:lnSpc>
              <a:spcBef>
                <a:spcPct val="110000"/>
              </a:spcBef>
              <a:spcAft>
                <a:spcPct val="110000"/>
              </a:spcAft>
              <a:defRPr sz="800" b="0" i="0">
                <a:solidFill>
                  <a:schemeClr val="tx1">
                    <a:tint val="75000"/>
                  </a:schemeClr>
                </a:solidFill>
                <a:latin typeface="Arial"/>
                <a:cs typeface="Arial"/>
              </a:defRPr>
            </a:lvl1pPr>
          </a:lstStyle>
          <a:p>
            <a:pPr>
              <a:defRPr/>
            </a:pPr>
            <a:fld id="{395B814A-3B96-4A48-846D-D127C2B19E10}" type="slidenum">
              <a:rPr lang="de-DE" smtClean="0"/>
              <a:pPr>
                <a:defRPr/>
              </a:pPr>
              <a:t>‹Nº›</a:t>
            </a:fld>
            <a:endParaRPr lang="de-DE"/>
          </a:p>
        </p:txBody>
      </p:sp>
      <p:sp>
        <p:nvSpPr>
          <p:cNvPr id="5" name="FussPlaz"/>
          <p:cNvSpPr>
            <a:spLocks noGrp="1"/>
          </p:cNvSpPr>
          <p:nvPr>
            <p:ph type="ftr" sz="quarter" idx="3"/>
            <p:custDataLst>
              <p:tags r:id="rId11"/>
            </p:custDataLst>
          </p:nvPr>
        </p:nvSpPr>
        <p:spPr>
          <a:xfrm>
            <a:off x="1248671" y="6718300"/>
            <a:ext cx="9693071" cy="96838"/>
          </a:xfrm>
          <a:prstGeom prst="rect">
            <a:avLst/>
          </a:prstGeom>
        </p:spPr>
        <p:txBody>
          <a:bodyPr vert="horz" lIns="0" tIns="0" rIns="0" bIns="0" rtlCol="0" anchor="b"/>
          <a:lstStyle>
            <a:lvl1pPr algn="ctr" fontAlgn="auto">
              <a:lnSpc>
                <a:spcPct val="100000"/>
              </a:lnSpc>
              <a:spcBef>
                <a:spcPct val="110000"/>
              </a:spcBef>
              <a:spcAft>
                <a:spcPct val="110000"/>
              </a:spcAft>
              <a:defRPr sz="1000" b="0" i="0">
                <a:solidFill>
                  <a:schemeClr val="tx1">
                    <a:tint val="75000"/>
                  </a:schemeClr>
                </a:solidFill>
                <a:latin typeface="Arial"/>
                <a:cs typeface="Arial"/>
              </a:defRPr>
            </a:lvl1pPr>
          </a:lstStyle>
          <a:p>
            <a:pPr>
              <a:defRPr/>
            </a:pPr>
            <a:endParaRPr lang="de-DE"/>
          </a:p>
        </p:txBody>
      </p:sp>
      <p:sp>
        <p:nvSpPr>
          <p:cNvPr id="4" name="DatumPlaz"/>
          <p:cNvSpPr>
            <a:spLocks noGrp="1"/>
          </p:cNvSpPr>
          <p:nvPr>
            <p:ph type="dt" sz="half" idx="2"/>
            <p:custDataLst>
              <p:tags r:id="rId12"/>
            </p:custDataLst>
          </p:nvPr>
        </p:nvSpPr>
        <p:spPr>
          <a:xfrm>
            <a:off x="287830" y="6645276"/>
            <a:ext cx="960842" cy="150813"/>
          </a:xfrm>
          <a:prstGeom prst="rect">
            <a:avLst/>
          </a:prstGeom>
        </p:spPr>
        <p:txBody>
          <a:bodyPr vert="horz" lIns="0" tIns="0" rIns="0" bIns="0" rtlCol="0" anchor="b"/>
          <a:lstStyle>
            <a:lvl1pPr algn="l" fontAlgn="auto">
              <a:lnSpc>
                <a:spcPct val="100000"/>
              </a:lnSpc>
              <a:spcBef>
                <a:spcPct val="110000"/>
              </a:spcBef>
              <a:spcAft>
                <a:spcPct val="110000"/>
              </a:spcAft>
              <a:defRPr sz="800" b="0" i="0">
                <a:solidFill>
                  <a:schemeClr val="tx1">
                    <a:tint val="75000"/>
                  </a:schemeClr>
                </a:solidFill>
                <a:latin typeface="Arial"/>
                <a:cs typeface="Arial"/>
              </a:defRPr>
            </a:lvl1pPr>
          </a:lstStyle>
          <a:p>
            <a:pPr>
              <a:defRPr/>
            </a:pPr>
            <a:fld id="{88E0561C-3F42-4AD7-8A06-669E1582433E}" type="datetime1">
              <a:rPr lang="en-US" smtClean="0"/>
              <a:t>11/3/2017</a:t>
            </a:fld>
            <a:endParaRPr lang="de-DE"/>
          </a:p>
        </p:txBody>
      </p:sp>
      <p:sp>
        <p:nvSpPr>
          <p:cNvPr id="13" name="DokuPlaz"/>
          <p:cNvSpPr txBox="1">
            <a:spLocks/>
          </p:cNvSpPr>
          <p:nvPr userDrawn="1">
            <p:custDataLst>
              <p:tags r:id="rId13"/>
            </p:custDataLst>
          </p:nvPr>
        </p:nvSpPr>
        <p:spPr>
          <a:xfrm>
            <a:off x="1248671" y="6764339"/>
            <a:ext cx="9693071" cy="96837"/>
          </a:xfrm>
          <a:prstGeom prst="rect">
            <a:avLst/>
          </a:prstGeom>
        </p:spPr>
        <p:txBody>
          <a:bodyPr lIns="0" tIns="0" rIns="0" bIns="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defRPr/>
            </a:pPr>
            <a:endParaRPr lang="de-DE" sz="600">
              <a:solidFill>
                <a:srgbClr val="898989"/>
              </a:solidFill>
              <a:latin typeface="Arial"/>
              <a:cs typeface="Arial"/>
            </a:endParaRPr>
          </a:p>
        </p:txBody>
      </p:sp>
      <p:sp>
        <p:nvSpPr>
          <p:cNvPr id="12" name="Textfeld 11"/>
          <p:cNvSpPr txBox="1"/>
          <p:nvPr userDrawn="1"/>
        </p:nvSpPr>
        <p:spPr>
          <a:xfrm>
            <a:off x="10281489" y="342944"/>
            <a:ext cx="761427" cy="220060"/>
          </a:xfrm>
          <a:prstGeom prst="rect">
            <a:avLst/>
          </a:prstGeom>
          <a:noFill/>
        </p:spPr>
        <p:txBody>
          <a:bodyPr wrap="none" lIns="0" tIns="0" rIns="0" bIns="0" rtlCol="0" anchor="b" anchorCtr="0">
            <a:spAutoFit/>
          </a:bodyPr>
          <a:lstStyle/>
          <a:p>
            <a:pPr>
              <a:lnSpc>
                <a:spcPct val="110000"/>
              </a:lnSpc>
            </a:pPr>
            <a:r>
              <a:rPr lang="en-US" sz="1300" b="1" noProof="0" dirty="0">
                <a:solidFill>
                  <a:schemeClr val="bg1"/>
                </a:solidFill>
                <a:latin typeface="Arial" panose="020B0604020202020204" pitchFamily="34" charset="0"/>
                <a:cs typeface="Arial" panose="020B0604020202020204" pitchFamily="34" charset="0"/>
              </a:rPr>
              <a:t>150 years</a:t>
            </a:r>
          </a:p>
        </p:txBody>
      </p:sp>
      <p:pic>
        <p:nvPicPr>
          <p:cNvPr id="7" name="Fix/20,99/0,6/3,8/3,8"/>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074031" y="217065"/>
            <a:ext cx="1824329" cy="1368425"/>
          </a:xfrm>
          <a:prstGeom prst="rect">
            <a:avLst/>
          </a:prstGeom>
        </p:spPr>
      </p:pic>
    </p:spTree>
    <p:extLst>
      <p:ext uri="{BB962C8B-B14F-4D97-AF65-F5344CB8AC3E}">
        <p14:creationId xmlns:p14="http://schemas.microsoft.com/office/powerpoint/2010/main" val="1007857543"/>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0" fontAlgn="base" hangingPunct="0">
        <a:lnSpc>
          <a:spcPct val="95000"/>
        </a:lnSpc>
        <a:spcBef>
          <a:spcPct val="0"/>
        </a:spcBef>
        <a:spcAft>
          <a:spcPct val="0"/>
        </a:spcAft>
        <a:defRPr sz="2800" b="1" kern="1200">
          <a:solidFill>
            <a:schemeClr val="tx1"/>
          </a:solidFill>
          <a:latin typeface="Arial"/>
          <a:ea typeface="+mj-ea"/>
          <a:cs typeface="Arial"/>
        </a:defRPr>
      </a:lvl1pPr>
      <a:lvl2pPr algn="l" rtl="0" eaLnBrk="0" fontAlgn="base" hangingPunct="0">
        <a:lnSpc>
          <a:spcPct val="95000"/>
        </a:lnSpc>
        <a:spcBef>
          <a:spcPct val="0"/>
        </a:spcBef>
        <a:spcAft>
          <a:spcPct val="0"/>
        </a:spcAft>
        <a:defRPr sz="2800" b="1">
          <a:solidFill>
            <a:srgbClr val="000000"/>
          </a:solidFill>
          <a:latin typeface="Arial" pitchFamily="34" charset="0"/>
        </a:defRPr>
      </a:lvl2pPr>
      <a:lvl3pPr algn="l" rtl="0" eaLnBrk="0" fontAlgn="base" hangingPunct="0">
        <a:lnSpc>
          <a:spcPct val="95000"/>
        </a:lnSpc>
        <a:spcBef>
          <a:spcPct val="0"/>
        </a:spcBef>
        <a:spcAft>
          <a:spcPct val="0"/>
        </a:spcAft>
        <a:defRPr sz="2800" b="1">
          <a:solidFill>
            <a:srgbClr val="000000"/>
          </a:solidFill>
          <a:latin typeface="Arial" pitchFamily="34" charset="0"/>
        </a:defRPr>
      </a:lvl3pPr>
      <a:lvl4pPr algn="l" rtl="0" eaLnBrk="0" fontAlgn="base" hangingPunct="0">
        <a:lnSpc>
          <a:spcPct val="95000"/>
        </a:lnSpc>
        <a:spcBef>
          <a:spcPct val="0"/>
        </a:spcBef>
        <a:spcAft>
          <a:spcPct val="0"/>
        </a:spcAft>
        <a:defRPr sz="2800" b="1">
          <a:solidFill>
            <a:srgbClr val="000000"/>
          </a:solidFill>
          <a:latin typeface="Arial" pitchFamily="34" charset="0"/>
        </a:defRPr>
      </a:lvl4pPr>
      <a:lvl5pPr algn="l" rtl="0" eaLnBrk="0" fontAlgn="base" hangingPunct="0">
        <a:lnSpc>
          <a:spcPct val="95000"/>
        </a:lnSpc>
        <a:spcBef>
          <a:spcPct val="0"/>
        </a:spcBef>
        <a:spcAft>
          <a:spcPct val="0"/>
        </a:spcAft>
        <a:defRPr sz="2800" b="1">
          <a:solidFill>
            <a:srgbClr val="000000"/>
          </a:solidFill>
          <a:latin typeface="Arial" pitchFamily="34" charset="0"/>
        </a:defRPr>
      </a:lvl5pPr>
      <a:lvl6pPr marL="457200" algn="l" rtl="0" fontAlgn="base">
        <a:spcBef>
          <a:spcPct val="110000"/>
        </a:spcBef>
        <a:spcAft>
          <a:spcPct val="110000"/>
        </a:spcAft>
        <a:defRPr sz="2800" b="1">
          <a:solidFill>
            <a:srgbClr val="000000"/>
          </a:solidFill>
          <a:latin typeface="Arial" pitchFamily="34" charset="0"/>
        </a:defRPr>
      </a:lvl6pPr>
      <a:lvl7pPr marL="914400" algn="l" rtl="0" fontAlgn="base">
        <a:spcBef>
          <a:spcPct val="110000"/>
        </a:spcBef>
        <a:spcAft>
          <a:spcPct val="110000"/>
        </a:spcAft>
        <a:defRPr sz="2800" b="1">
          <a:solidFill>
            <a:srgbClr val="000000"/>
          </a:solidFill>
          <a:latin typeface="Arial" pitchFamily="34" charset="0"/>
        </a:defRPr>
      </a:lvl7pPr>
      <a:lvl8pPr marL="1371600" algn="l" rtl="0" fontAlgn="base">
        <a:spcBef>
          <a:spcPct val="110000"/>
        </a:spcBef>
        <a:spcAft>
          <a:spcPct val="110000"/>
        </a:spcAft>
        <a:defRPr sz="2800" b="1">
          <a:solidFill>
            <a:srgbClr val="000000"/>
          </a:solidFill>
          <a:latin typeface="Arial" pitchFamily="34" charset="0"/>
        </a:defRPr>
      </a:lvl8pPr>
      <a:lvl9pPr marL="1828800" algn="l" rtl="0" fontAlgn="base">
        <a:spcBef>
          <a:spcPct val="110000"/>
        </a:spcBef>
        <a:spcAft>
          <a:spcPct val="110000"/>
        </a:spcAft>
        <a:defRPr sz="2800" b="1">
          <a:solidFill>
            <a:srgbClr val="000000"/>
          </a:solidFill>
          <a:latin typeface="Arial" pitchFamily="34" charset="0"/>
        </a:defRPr>
      </a:lvl9pPr>
    </p:titleStyle>
    <p:bodyStyle>
      <a:lvl1pPr marL="342900" indent="-342900" algn="l" rtl="0" eaLnBrk="0" fontAlgn="base" hangingPunct="0">
        <a:lnSpc>
          <a:spcPct val="110000"/>
        </a:lnSpc>
        <a:spcBef>
          <a:spcPts val="1800"/>
        </a:spcBef>
        <a:spcAft>
          <a:spcPts val="0"/>
        </a:spcAft>
        <a:buClr>
          <a:schemeClr val="accent1"/>
        </a:buClr>
        <a:buFont typeface="Wingdings" pitchFamily="2" charset="2"/>
        <a:buChar char="n"/>
        <a:defRPr lang="de-DE" sz="2000" kern="1200" dirty="0">
          <a:solidFill>
            <a:schemeClr val="tx1"/>
          </a:solidFill>
          <a:latin typeface="Arial" pitchFamily="34" charset="0"/>
          <a:ea typeface="+mn-ea"/>
          <a:cs typeface="Arial" pitchFamily="34" charset="0"/>
        </a:defRPr>
      </a:lvl1pPr>
      <a:lvl2pPr marL="628650" indent="-271463" algn="l" rtl="0" eaLnBrk="0" fontAlgn="base" hangingPunct="0">
        <a:lnSpc>
          <a:spcPct val="110000"/>
        </a:lnSpc>
        <a:spcBef>
          <a:spcPts val="600"/>
        </a:spcBef>
        <a:spcAft>
          <a:spcPts val="0"/>
        </a:spcAft>
        <a:buClr>
          <a:schemeClr val="accent1"/>
        </a:buClr>
        <a:buSzPct val="95000"/>
        <a:buFont typeface="Wingdings 3" pitchFamily="18" charset="2"/>
        <a:buChar char="u"/>
        <a:defRPr lang="de-DE" sz="2000" kern="1200" dirty="0">
          <a:solidFill>
            <a:schemeClr val="tx1"/>
          </a:solidFill>
          <a:latin typeface="Arial" pitchFamily="34" charset="0"/>
          <a:ea typeface="+mn-ea"/>
          <a:cs typeface="Arial" pitchFamily="34" charset="0"/>
        </a:defRPr>
      </a:lvl2pPr>
      <a:lvl3pPr marL="900113" indent="-271463" algn="l" rtl="0" eaLnBrk="0" fontAlgn="base" hangingPunct="0">
        <a:lnSpc>
          <a:spcPct val="110000"/>
        </a:lnSpc>
        <a:spcBef>
          <a:spcPts val="300"/>
        </a:spcBef>
        <a:spcAft>
          <a:spcPts val="0"/>
        </a:spcAft>
        <a:buClr>
          <a:schemeClr val="accent1"/>
        </a:buClr>
        <a:buFont typeface="Wingdings" pitchFamily="2" charset="2"/>
        <a:buChar char="l"/>
        <a:defRPr lang="de-DE" sz="2000" kern="1200" dirty="0">
          <a:solidFill>
            <a:schemeClr val="tx1"/>
          </a:solidFill>
          <a:latin typeface="Arial" pitchFamily="34" charset="0"/>
          <a:ea typeface="+mn-ea"/>
          <a:cs typeface="Arial" pitchFamily="34" charset="0"/>
        </a:defRPr>
      </a:lvl3pPr>
      <a:lvl4pPr marL="1165225" indent="-265113" algn="l" rtl="0" eaLnBrk="0" fontAlgn="base" hangingPunct="0">
        <a:lnSpc>
          <a:spcPct val="110000"/>
        </a:lnSpc>
        <a:spcBef>
          <a:spcPct val="0"/>
        </a:spcBef>
        <a:spcAft>
          <a:spcPts val="0"/>
        </a:spcAft>
        <a:buClr>
          <a:schemeClr val="tx1"/>
        </a:buClr>
        <a:buChar char="–"/>
        <a:defRPr lang="de-DE" sz="2000" kern="1200" dirty="0">
          <a:solidFill>
            <a:schemeClr val="tx1"/>
          </a:solidFill>
          <a:latin typeface="Arial" pitchFamily="34" charset="0"/>
          <a:ea typeface="+mn-ea"/>
          <a:cs typeface="Arial" pitchFamily="34" charset="0"/>
        </a:defRPr>
      </a:lvl4pPr>
      <a:lvl5pPr marL="1828800" algn="l" rtl="0" eaLnBrk="0" fontAlgn="base" hangingPunct="0">
        <a:lnSpc>
          <a:spcPct val="110000"/>
        </a:lnSpc>
        <a:spcBef>
          <a:spcPct val="0"/>
        </a:spcBef>
        <a:spcAft>
          <a:spcPct val="50000"/>
        </a:spcAft>
        <a:buClr>
          <a:schemeClr val="tx1"/>
        </a:buClr>
        <a:defRPr sz="2000" kern="1200">
          <a:solidFill>
            <a:schemeClr val="tx1"/>
          </a:solidFill>
          <a:latin typeface="Arial"/>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ix/0,6/0/4,8/19,05"/>
          <p:cNvSpPr>
            <a:spLocks noChangeArrowheads="1"/>
          </p:cNvSpPr>
          <p:nvPr userDrawn="1">
            <p:custDataLst>
              <p:tags r:id="rId3"/>
            </p:custDataLst>
          </p:nvPr>
        </p:nvSpPr>
        <p:spPr bwMode="auto">
          <a:xfrm>
            <a:off x="216027" y="0"/>
            <a:ext cx="1728216" cy="6858857"/>
          </a:xfrm>
          <a:prstGeom prst="rect">
            <a:avLst/>
          </a:prstGeom>
          <a:solidFill>
            <a:srgbClr val="9BD4E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SeitePlaz"/>
          <p:cNvSpPr>
            <a:spLocks noGrp="1"/>
          </p:cNvSpPr>
          <p:nvPr>
            <p:ph type="sldNum" sz="quarter" idx="4"/>
            <p:custDataLst>
              <p:tags r:id="rId4"/>
            </p:custDataLst>
          </p:nvPr>
        </p:nvSpPr>
        <p:spPr>
          <a:xfrm>
            <a:off x="8209026" y="6646431"/>
            <a:ext cx="720090" cy="151219"/>
          </a:xfrm>
          <a:prstGeom prst="rect">
            <a:avLst/>
          </a:prstGeom>
        </p:spPr>
        <p:txBody>
          <a:bodyPr vert="horz" lIns="0" tIns="0" rIns="0" bIns="0" rtlCol="0" anchor="b"/>
          <a:lstStyle>
            <a:lvl1pPr algn="r">
              <a:lnSpc>
                <a:spcPct val="100000"/>
              </a:lnSpc>
              <a:spcBef>
                <a:spcPct val="110000"/>
              </a:spcBef>
              <a:spcAft>
                <a:spcPct val="110000"/>
              </a:spcAft>
              <a:defRPr sz="800" b="0" i="0">
                <a:solidFill>
                  <a:schemeClr val="tx1">
                    <a:tint val="75000"/>
                  </a:schemeClr>
                </a:solidFill>
                <a:latin typeface="Arial"/>
              </a:defRPr>
            </a:lvl1pPr>
          </a:lstStyle>
          <a:p>
            <a:pPr marL="0" marR="0" lvl="0" indent="0" algn="r" defTabSz="914400" rtl="0" eaLnBrk="1" fontAlgn="auto" latinLnBrk="0" hangingPunct="1">
              <a:lnSpc>
                <a:spcPct val="100000"/>
              </a:lnSpc>
              <a:spcBef>
                <a:spcPct val="110000"/>
              </a:spcBef>
              <a:spcAft>
                <a:spcPct val="110000"/>
              </a:spcAft>
              <a:buClrTx/>
              <a:buSzTx/>
              <a:buFontTx/>
              <a:buNone/>
              <a:tabLst/>
              <a:defRPr/>
            </a:pPr>
            <a:fld id="{3CE899F9-3946-41BC-AB25-3619C98F7D67}" type="slidenum">
              <a:rPr kumimoji="0" lang="de-DE" sz="8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ct val="110000"/>
                </a:spcBef>
                <a:spcAft>
                  <a:spcPct val="110000"/>
                </a:spcAft>
                <a:buClrTx/>
                <a:buSzTx/>
                <a:buFontTx/>
                <a:buNone/>
                <a:tabLst/>
                <a:defRPr/>
              </a:pPr>
              <a:t>‹Nº›</a:t>
            </a:fld>
            <a:endParaRPr kumimoji="0" lang="de-DE" sz="8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5" name="FussPlaz"/>
          <p:cNvSpPr>
            <a:spLocks noGrp="1"/>
          </p:cNvSpPr>
          <p:nvPr>
            <p:ph type="ftr" sz="quarter" idx="3"/>
            <p:custDataLst>
              <p:tags r:id="rId5"/>
            </p:custDataLst>
          </p:nvPr>
        </p:nvSpPr>
        <p:spPr>
          <a:xfrm>
            <a:off x="2880360" y="6718440"/>
            <a:ext cx="5400675" cy="97212"/>
          </a:xfrm>
          <a:prstGeom prst="rect">
            <a:avLst/>
          </a:prstGeom>
        </p:spPr>
        <p:txBody>
          <a:bodyPr vert="horz" wrap="none" lIns="0" tIns="0" rIns="0" bIns="0" rtlCol="0" anchor="b">
            <a:spAutoFit/>
          </a:bodyPr>
          <a:lstStyle>
            <a:lvl1pPr>
              <a:defRPr lang="de-DE" sz="1200" b="0" i="0" smtClean="0">
                <a:solidFill>
                  <a:schemeClr val="tx1">
                    <a:tint val="75000"/>
                  </a:schemeClr>
                </a:solidFill>
                <a:latin typeface="Arial"/>
              </a:defRPr>
            </a:lvl1pPr>
          </a:lstStyle>
          <a:p>
            <a:pPr marL="0" marR="0" lvl="0" indent="0" algn="ctr" defTabSz="914400" rtl="0" eaLnBrk="1" fontAlgn="auto" latinLnBrk="0" hangingPunct="1">
              <a:lnSpc>
                <a:spcPct val="100000"/>
              </a:lnSpc>
              <a:spcBef>
                <a:spcPct val="110000"/>
              </a:spcBef>
              <a:spcAft>
                <a:spcPct val="110000"/>
              </a:spcAft>
              <a:buClrTx/>
              <a:buSzTx/>
              <a:buFontTx/>
              <a:buNone/>
              <a:tabLst/>
              <a:defRPr/>
            </a:pPr>
            <a:endParaRPr kumimoji="0" lang="de-DE" sz="12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4" name="DatumPlaz"/>
          <p:cNvSpPr>
            <a:spLocks noGrp="1"/>
          </p:cNvSpPr>
          <p:nvPr>
            <p:ph type="dt" sz="half" idx="2"/>
            <p:custDataLst>
              <p:tags r:id="rId6"/>
            </p:custDataLst>
          </p:nvPr>
        </p:nvSpPr>
        <p:spPr>
          <a:xfrm>
            <a:off x="2160270" y="6646431"/>
            <a:ext cx="720090" cy="151219"/>
          </a:xfrm>
          <a:prstGeom prst="rect">
            <a:avLst/>
          </a:prstGeom>
        </p:spPr>
        <p:txBody>
          <a:bodyPr vert="horz" lIns="0" tIns="0" rIns="0" bIns="0" rtlCol="0" anchor="b"/>
          <a:lstStyle>
            <a:lvl1pPr algn="l">
              <a:lnSpc>
                <a:spcPct val="100000"/>
              </a:lnSpc>
              <a:spcBef>
                <a:spcPct val="110000"/>
              </a:spcBef>
              <a:spcAft>
                <a:spcPct val="110000"/>
              </a:spcAft>
              <a:defRPr sz="800" b="0" i="0">
                <a:solidFill>
                  <a:schemeClr val="tx1">
                    <a:tint val="75000"/>
                  </a:schemeClr>
                </a:solidFill>
                <a:latin typeface="Arial"/>
              </a:defRPr>
            </a:lvl1pPr>
          </a:lstStyle>
          <a:p>
            <a:pPr marL="0" marR="0" lvl="0" indent="0" algn="l" defTabSz="914400" rtl="0" eaLnBrk="1" fontAlgn="auto" latinLnBrk="0" hangingPunct="1">
              <a:lnSpc>
                <a:spcPct val="100000"/>
              </a:lnSpc>
              <a:spcBef>
                <a:spcPct val="110000"/>
              </a:spcBef>
              <a:spcAft>
                <a:spcPct val="110000"/>
              </a:spcAft>
              <a:buClrTx/>
              <a:buSzTx/>
              <a:buFontTx/>
              <a:buNone/>
              <a:tabLst/>
              <a:defRPr/>
            </a:pPr>
            <a:fld id="{5D9F3CBE-A724-4685-8762-5A9895954E9F}" type="datetime1">
              <a:rPr kumimoji="0" lang="de-DE" sz="8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l" defTabSz="914400" rtl="0" eaLnBrk="1" fontAlgn="auto" latinLnBrk="0" hangingPunct="1">
                <a:lnSpc>
                  <a:spcPct val="100000"/>
                </a:lnSpc>
                <a:spcBef>
                  <a:spcPct val="110000"/>
                </a:spcBef>
                <a:spcAft>
                  <a:spcPct val="110000"/>
                </a:spcAft>
                <a:buClrTx/>
                <a:buSzTx/>
                <a:buFontTx/>
                <a:buNone/>
                <a:tabLst/>
                <a:defRPr/>
              </a:pPr>
              <a:t>03.11.2017</a:t>
            </a:fld>
            <a:endParaRPr kumimoji="0" lang="de-DE" sz="8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9" name="DokuPlaz"/>
          <p:cNvSpPr txBox="1">
            <a:spLocks/>
          </p:cNvSpPr>
          <p:nvPr userDrawn="1">
            <p:custDataLst>
              <p:tags r:id="rId7"/>
            </p:custDataLst>
          </p:nvPr>
        </p:nvSpPr>
        <p:spPr>
          <a:xfrm>
            <a:off x="2880360" y="6765246"/>
            <a:ext cx="5400675" cy="97212"/>
          </a:xfrm>
          <a:prstGeom prst="rect">
            <a:avLst/>
          </a:prstGeom>
        </p:spPr>
        <p:txBody>
          <a:bodyPr vert="horz" lIns="0" tIns="0" rIns="0" bIns="0" rtlCol="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de-DE" sz="600" b="0" i="0" u="none" strike="noStrike" kern="1200" cap="none" spc="0" normalizeH="0" baseline="0" noProof="0">
              <a:ln>
                <a:noFill/>
              </a:ln>
              <a:solidFill>
                <a:srgbClr val="898989"/>
              </a:solidFill>
              <a:effectLst/>
              <a:uLnTx/>
              <a:uFillTx/>
              <a:latin typeface="Arial"/>
              <a:ea typeface="+mn-ea"/>
              <a:cs typeface="+mn-cs"/>
            </a:endParaRPr>
          </a:p>
        </p:txBody>
      </p:sp>
      <p:pic>
        <p:nvPicPr>
          <p:cNvPr id="2" name="Fix/0,6/13,64/4,8/4,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16027" y="4913540"/>
            <a:ext cx="1729016" cy="1726090"/>
          </a:xfrm>
          <a:prstGeom prst="rect">
            <a:avLst/>
          </a:prstGeom>
        </p:spPr>
      </p:pic>
    </p:spTree>
    <p:extLst>
      <p:ext uri="{BB962C8B-B14F-4D97-AF65-F5344CB8AC3E}">
        <p14:creationId xmlns:p14="http://schemas.microsoft.com/office/powerpoint/2010/main" val="3060552588"/>
      </p:ext>
    </p:extLst>
  </p:cSld>
  <p:clrMap bg1="lt1" tx1="dk1" bg2="lt2" tx2="dk2" accent1="accent1" accent2="accent2" accent3="accent3" accent4="accent4" accent5="accent5" accent6="accent6" hlink="hlink" folHlink="folHlink"/>
  <p:sldLayoutIdLst>
    <p:sldLayoutId id="2147483699" r:id="rId1"/>
  </p:sldLayoutIdLst>
  <p:hf hdr="0" dt="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Fix/0,6/0/3,8/19,05"/>
          <p:cNvSpPr>
            <a:spLocks noChangeArrowheads="1"/>
          </p:cNvSpPr>
          <p:nvPr userDrawn="1">
            <p:custDataLst>
              <p:tags r:id="rId6"/>
            </p:custDataLst>
          </p:nvPr>
        </p:nvSpPr>
        <p:spPr bwMode="auto">
          <a:xfrm>
            <a:off x="0" y="216000"/>
            <a:ext cx="12189600" cy="1368000"/>
          </a:xfrm>
          <a:prstGeom prst="rect">
            <a:avLst/>
          </a:prstGeom>
          <a:solidFill>
            <a:srgbClr val="9BD4E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 name="TitelPlaz"/>
          <p:cNvSpPr>
            <a:spLocks noGrp="1"/>
          </p:cNvSpPr>
          <p:nvPr>
            <p:ph type="title"/>
            <p:custDataLst>
              <p:tags r:id="rId7"/>
            </p:custDataLst>
          </p:nvPr>
        </p:nvSpPr>
        <p:spPr>
          <a:xfrm>
            <a:off x="216000" y="368661"/>
            <a:ext cx="10153650" cy="1132540"/>
          </a:xfrm>
          <a:prstGeom prst="rect">
            <a:avLst/>
          </a:prstGeom>
        </p:spPr>
        <p:txBody>
          <a:bodyPr vert="horz" lIns="0" tIns="0" rIns="0" bIns="0" rtlCol="0" anchor="b">
            <a:noAutofit/>
          </a:bodyPr>
          <a:lstStyle/>
          <a:p>
            <a:r>
              <a:rPr lang="de-DE" dirty="0"/>
              <a:t>Titelmasterformat durch Klicken bearbeiten</a:t>
            </a:r>
          </a:p>
        </p:txBody>
      </p:sp>
      <p:sp>
        <p:nvSpPr>
          <p:cNvPr id="3" name="TextPlaz"/>
          <p:cNvSpPr>
            <a:spLocks noGrp="1"/>
          </p:cNvSpPr>
          <p:nvPr>
            <p:ph type="body" idx="1"/>
            <p:custDataLst>
              <p:tags r:id="rId8"/>
            </p:custDataLst>
          </p:nvPr>
        </p:nvSpPr>
        <p:spPr>
          <a:xfrm>
            <a:off x="216000" y="1980000"/>
            <a:ext cx="10389600" cy="44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Bef>
                <a:spcPts val="1800"/>
              </a:spcBef>
              <a:spcAft>
                <a:spcPct val="0"/>
              </a:spcAft>
              <a:buFont typeface="Wingdings" pitchFamily="2" charset="2"/>
            </a:pPr>
            <a:r>
              <a:rPr lang="de-DE" dirty="0"/>
              <a:t>Textmasterformat bearbeiten</a:t>
            </a:r>
          </a:p>
          <a:p>
            <a:pPr marL="623888" lvl="1" indent="-266700" fontAlgn="base">
              <a:spcBef>
                <a:spcPts val="600"/>
              </a:spcBef>
              <a:spcAft>
                <a:spcPct val="0"/>
              </a:spcAft>
              <a:buSzPct val="90000"/>
              <a:buFont typeface="Wingdings 3" pitchFamily="18" charset="2"/>
              <a:buChar char="u"/>
            </a:pPr>
            <a:r>
              <a:rPr lang="de-DE" dirty="0"/>
              <a:t>Zweite Ebene</a:t>
            </a:r>
          </a:p>
          <a:p>
            <a:pPr marL="900113" lvl="2" indent="-276225" fontAlgn="base">
              <a:spcBef>
                <a:spcPct val="0"/>
              </a:spcBef>
              <a:spcAft>
                <a:spcPct val="0"/>
              </a:spcAft>
              <a:buClr>
                <a:schemeClr val="accent1"/>
              </a:buClr>
              <a:buSzPct val="95000"/>
              <a:buFont typeface="Wingdings" pitchFamily="2" charset="2"/>
              <a:buChar char="l"/>
            </a:pPr>
            <a:r>
              <a:rPr lang="de-DE" dirty="0"/>
              <a:t>Dritte Ebene</a:t>
            </a:r>
          </a:p>
          <a:p>
            <a:pPr marL="1166813" lvl="3" indent="-266700" fontAlgn="base">
              <a:spcBef>
                <a:spcPct val="0"/>
              </a:spcBef>
              <a:spcAft>
                <a:spcPct val="0"/>
              </a:spcAft>
            </a:pPr>
            <a:r>
              <a:rPr lang="de-DE" dirty="0"/>
              <a:t>Vierte Ebene</a:t>
            </a:r>
          </a:p>
        </p:txBody>
      </p:sp>
      <p:sp>
        <p:nvSpPr>
          <p:cNvPr id="6" name="SeitePlaz"/>
          <p:cNvSpPr>
            <a:spLocks noGrp="1"/>
          </p:cNvSpPr>
          <p:nvPr>
            <p:ph type="sldNum" sz="quarter" idx="4"/>
            <p:custDataLst>
              <p:tags r:id="rId9"/>
            </p:custDataLst>
          </p:nvPr>
        </p:nvSpPr>
        <p:spPr>
          <a:xfrm>
            <a:off x="10986172" y="6645600"/>
            <a:ext cx="959875" cy="151200"/>
          </a:xfrm>
          <a:prstGeom prst="rect">
            <a:avLst/>
          </a:prstGeom>
        </p:spPr>
        <p:txBody>
          <a:bodyPr vert="horz" lIns="0" tIns="0" rIns="0" bIns="0" rtlCol="0" anchor="b"/>
          <a:lstStyle>
            <a:lvl1pPr algn="r">
              <a:lnSpc>
                <a:spcPct val="100000"/>
              </a:lnSpc>
              <a:spcBef>
                <a:spcPct val="110000"/>
              </a:spcBef>
              <a:spcAft>
                <a:spcPct val="110000"/>
              </a:spcAft>
              <a:defRPr sz="800" b="0" i="0">
                <a:solidFill>
                  <a:schemeClr val="tx1">
                    <a:tint val="75000"/>
                  </a:schemeClr>
                </a:solidFill>
                <a:latin typeface="Arial"/>
              </a:defRPr>
            </a:lvl1pPr>
          </a:lstStyle>
          <a:p>
            <a:fld id="{9ED39FAB-3417-4E61-A69A-10C0CE33FFC4}" type="slidenum">
              <a:rPr lang="de-DE" smtClean="0"/>
              <a:pPr/>
              <a:t>‹Nº›</a:t>
            </a:fld>
            <a:endParaRPr lang="de-DE"/>
          </a:p>
        </p:txBody>
      </p:sp>
      <p:sp>
        <p:nvSpPr>
          <p:cNvPr id="5" name="FussPlaz"/>
          <p:cNvSpPr>
            <a:spLocks noGrp="1"/>
          </p:cNvSpPr>
          <p:nvPr>
            <p:ph type="ftr" sz="quarter" idx="3"/>
            <p:custDataLst>
              <p:tags r:id="rId10"/>
            </p:custDataLst>
          </p:nvPr>
        </p:nvSpPr>
        <p:spPr>
          <a:xfrm>
            <a:off x="5809070" y="6630134"/>
            <a:ext cx="572273" cy="184666"/>
          </a:xfrm>
          <a:prstGeom prst="rect">
            <a:avLst/>
          </a:prstGeom>
        </p:spPr>
        <p:txBody>
          <a:bodyPr vert="horz" wrap="none" lIns="0" tIns="0" rIns="0" bIns="0" rtlCol="0" anchor="b">
            <a:spAutoFit/>
          </a:bodyPr>
          <a:lstStyle>
            <a:lvl1pPr algn="ctr">
              <a:lnSpc>
                <a:spcPct val="100000"/>
              </a:lnSpc>
              <a:spcBef>
                <a:spcPct val="110000"/>
              </a:spcBef>
              <a:spcAft>
                <a:spcPct val="110000"/>
              </a:spcAft>
              <a:defRPr sz="1200" b="0" i="0">
                <a:solidFill>
                  <a:schemeClr val="tx1">
                    <a:tint val="75000"/>
                  </a:schemeClr>
                </a:solidFill>
                <a:latin typeface="Arial"/>
              </a:defRPr>
            </a:lvl1pPr>
          </a:lstStyle>
          <a:p>
            <a:endParaRPr lang="de-DE" dirty="0"/>
          </a:p>
        </p:txBody>
      </p:sp>
      <p:sp>
        <p:nvSpPr>
          <p:cNvPr id="4" name="DatumPlaz"/>
          <p:cNvSpPr>
            <a:spLocks noGrp="1"/>
          </p:cNvSpPr>
          <p:nvPr>
            <p:ph type="dt" sz="half" idx="2"/>
            <p:custDataLst>
              <p:tags r:id="rId11"/>
            </p:custDataLst>
          </p:nvPr>
        </p:nvSpPr>
        <p:spPr>
          <a:xfrm>
            <a:off x="216000" y="6645600"/>
            <a:ext cx="959875" cy="151200"/>
          </a:xfrm>
          <a:prstGeom prst="rect">
            <a:avLst/>
          </a:prstGeom>
        </p:spPr>
        <p:txBody>
          <a:bodyPr vert="horz" lIns="0" tIns="0" rIns="0" bIns="0" rtlCol="0" anchor="b"/>
          <a:lstStyle>
            <a:lvl1pPr algn="l">
              <a:lnSpc>
                <a:spcPct val="100000"/>
              </a:lnSpc>
              <a:spcBef>
                <a:spcPct val="110000"/>
              </a:spcBef>
              <a:spcAft>
                <a:spcPct val="110000"/>
              </a:spcAft>
              <a:defRPr sz="800" b="0" i="0">
                <a:solidFill>
                  <a:schemeClr val="tx1">
                    <a:tint val="75000"/>
                  </a:schemeClr>
                </a:solidFill>
                <a:latin typeface="Arial"/>
              </a:defRPr>
            </a:lvl1pPr>
          </a:lstStyle>
          <a:p>
            <a:fld id="{35664AF2-1E42-4BFE-A681-FAC337E4A3BF}" type="datetime1">
              <a:rPr lang="de-DE" smtClean="0"/>
              <a:t>03.11.2017</a:t>
            </a:fld>
            <a:endParaRPr lang="de-DE"/>
          </a:p>
        </p:txBody>
      </p:sp>
      <p:sp>
        <p:nvSpPr>
          <p:cNvPr id="13" name="DokuPlaz"/>
          <p:cNvSpPr txBox="1">
            <a:spLocks/>
          </p:cNvSpPr>
          <p:nvPr userDrawn="1">
            <p:custDataLst>
              <p:tags r:id="rId12"/>
            </p:custDataLst>
          </p:nvPr>
        </p:nvSpPr>
        <p:spPr>
          <a:xfrm>
            <a:off x="3359563" y="6764400"/>
            <a:ext cx="7535019" cy="97200"/>
          </a:xfrm>
          <a:prstGeom prst="rect">
            <a:avLst/>
          </a:prstGeom>
        </p:spPr>
        <p:txBody>
          <a:bodyPr vert="horz" lIns="0" tIns="0" rIns="0" bIns="0" rtlCol="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ct val="0"/>
              </a:spcBef>
              <a:spcAft>
                <a:spcPct val="0"/>
              </a:spcAft>
            </a:pPr>
            <a:endParaRPr lang="de-DE" sz="600" b="0" i="0">
              <a:solidFill>
                <a:srgbClr val="898989"/>
              </a:solidFill>
              <a:latin typeface="Arial"/>
            </a:endParaRPr>
          </a:p>
        </p:txBody>
      </p:sp>
      <p:pic>
        <p:nvPicPr>
          <p:cNvPr id="8" name="Fix/0,6/14,64/3,8/3,8"/>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605600" y="216000"/>
            <a:ext cx="1368000" cy="1368000"/>
          </a:xfrm>
          <a:prstGeom prst="rect">
            <a:avLst/>
          </a:prstGeom>
        </p:spPr>
      </p:pic>
    </p:spTree>
    <p:extLst>
      <p:ext uri="{BB962C8B-B14F-4D97-AF65-F5344CB8AC3E}">
        <p14:creationId xmlns:p14="http://schemas.microsoft.com/office/powerpoint/2010/main" val="64014929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Lst>
  <p:hf hdr="0" dt="0"/>
  <p:txStyles>
    <p:titleStyle>
      <a:lvl1pPr algn="l" defTabSz="914400" rtl="0" eaLnBrk="1" latinLnBrk="0" hangingPunct="1">
        <a:lnSpc>
          <a:spcPct val="95000"/>
        </a:lnSpc>
        <a:spcBef>
          <a:spcPct val="110000"/>
        </a:spcBef>
        <a:spcAft>
          <a:spcPct val="110000"/>
        </a:spcAft>
        <a:buNone/>
        <a:defRPr sz="2800" b="1" i="0" kern="1200">
          <a:solidFill>
            <a:srgbClr val="000000"/>
          </a:solidFill>
          <a:latin typeface="Arial"/>
          <a:ea typeface="+mj-ea"/>
          <a:cs typeface="+mj-cs"/>
        </a:defRPr>
      </a:lvl1pPr>
    </p:titleStyle>
    <p:bodyStyle>
      <a:lvl1pPr marL="342900" indent="-342900" algn="l" defTabSz="914400" rtl="0" eaLnBrk="1" latinLnBrk="0" hangingPunct="1">
        <a:lnSpc>
          <a:spcPct val="95000"/>
        </a:lnSpc>
        <a:spcBef>
          <a:spcPts val="0"/>
        </a:spcBef>
        <a:spcAft>
          <a:spcPct val="50000"/>
        </a:spcAft>
        <a:buClr>
          <a:schemeClr val="accent1"/>
        </a:buClr>
        <a:buFont typeface="Wingdings"/>
        <a:buChar char="n"/>
        <a:defRPr lang="de-DE" sz="2000" b="0" i="0" kern="1200" smtClean="0">
          <a:solidFill>
            <a:schemeClr val="tx1"/>
          </a:solidFill>
          <a:latin typeface="Arial"/>
          <a:ea typeface="+mn-ea"/>
          <a:cs typeface="+mn-cs"/>
        </a:defRPr>
      </a:lvl1pPr>
      <a:lvl2pPr marL="742950" indent="-285750" algn="l" defTabSz="914400" rtl="0" eaLnBrk="1" latinLnBrk="0" hangingPunct="1">
        <a:lnSpc>
          <a:spcPct val="95000"/>
        </a:lnSpc>
        <a:spcBef>
          <a:spcPts val="0"/>
        </a:spcBef>
        <a:spcAft>
          <a:spcPct val="50000"/>
        </a:spcAft>
        <a:buClr>
          <a:schemeClr val="accent1"/>
        </a:buClr>
        <a:buFont typeface="Wingdings"/>
        <a:buChar char="n"/>
        <a:defRPr lang="de-DE" sz="2000" b="0" i="0" kern="1200" smtClean="0">
          <a:solidFill>
            <a:schemeClr val="tx1"/>
          </a:solidFill>
          <a:latin typeface="Arial"/>
          <a:ea typeface="+mn-ea"/>
          <a:cs typeface="+mn-cs"/>
        </a:defRPr>
      </a:lvl2pPr>
      <a:lvl3pPr marL="1143000" indent="-228600" algn="l" defTabSz="914400" rtl="0" eaLnBrk="1" latinLnBrk="0" hangingPunct="1">
        <a:lnSpc>
          <a:spcPct val="95000"/>
        </a:lnSpc>
        <a:spcBef>
          <a:spcPts val="0"/>
        </a:spcBef>
        <a:spcAft>
          <a:spcPct val="50000"/>
        </a:spcAft>
        <a:buClr>
          <a:schemeClr val="tx1"/>
        </a:buClr>
        <a:buFontTx/>
        <a:buChar char="–"/>
        <a:defRPr lang="de-DE" sz="2000" b="0" i="0" kern="1200" smtClean="0">
          <a:solidFill>
            <a:schemeClr val="tx1"/>
          </a:solidFill>
          <a:latin typeface="Arial"/>
          <a:ea typeface="+mn-ea"/>
          <a:cs typeface="+mn-cs"/>
        </a:defRPr>
      </a:lvl3pPr>
      <a:lvl4pPr marL="1600200" indent="-228600" algn="l" defTabSz="914400" rtl="0" eaLnBrk="1" latinLnBrk="0" hangingPunct="1">
        <a:lnSpc>
          <a:spcPct val="95000"/>
        </a:lnSpc>
        <a:spcBef>
          <a:spcPts val="0"/>
        </a:spcBef>
        <a:spcAft>
          <a:spcPct val="50000"/>
        </a:spcAft>
        <a:buClr>
          <a:schemeClr val="tx1"/>
        </a:buClr>
        <a:buFontTx/>
        <a:buChar char="–"/>
        <a:defRPr lang="de-DE" sz="2000" b="0" i="0" kern="1200" smtClean="0">
          <a:solidFill>
            <a:schemeClr val="tx1"/>
          </a:solidFill>
          <a:latin typeface="Arial"/>
          <a:ea typeface="+mn-ea"/>
          <a:cs typeface="+mn-cs"/>
        </a:defRPr>
      </a:lvl4pPr>
      <a:lvl5pPr marL="2057400" indent="-228600" algn="l" defTabSz="914400" rtl="0" eaLnBrk="1" latinLnBrk="0" hangingPunct="1">
        <a:lnSpc>
          <a:spcPct val="95000"/>
        </a:lnSpc>
        <a:spcBef>
          <a:spcPts val="0"/>
        </a:spcBef>
        <a:spcAft>
          <a:spcPct val="50000"/>
        </a:spcAft>
        <a:buClr>
          <a:schemeClr val="tx1"/>
        </a:buClr>
        <a:buFontTx/>
        <a:buChar char="–"/>
        <a:defRPr lang="de-DE" sz="2000" b="0" i="0" kern="1200" dirty="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92.xml"/><Relationship Id="rId7" Type="http://schemas.openxmlformats.org/officeDocument/2006/relationships/image" Target="../media/image1.tiff"/><Relationship Id="rId2" Type="http://schemas.openxmlformats.org/officeDocument/2006/relationships/tags" Target="../tags/tag91.xml"/><Relationship Id="rId1" Type="http://schemas.openxmlformats.org/officeDocument/2006/relationships/vmlDrawing" Target="../drawings/vmlDrawing11.vml"/><Relationship Id="rId6" Type="http://schemas.openxmlformats.org/officeDocument/2006/relationships/image" Target="../media/image13.jpg"/><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2.emf"/></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g"/><Relationship Id="rId1" Type="http://schemas.openxmlformats.org/officeDocument/2006/relationships/slideLayout" Target="../slideLayouts/slideLayout4.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7.xml"/><Relationship Id="rId7" Type="http://schemas.openxmlformats.org/officeDocument/2006/relationships/image" Target="../media/image44.png"/><Relationship Id="rId2" Type="http://schemas.openxmlformats.org/officeDocument/2006/relationships/tags" Target="../tags/tag97.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3.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emf"/><Relationship Id="rId2" Type="http://schemas.openxmlformats.org/officeDocument/2006/relationships/tags" Target="../tags/tag9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image" Target="../media/image14.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chart" Target="../charts/chart1.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3.jpeg"/><Relationship Id="rId2" Type="http://schemas.openxmlformats.org/officeDocument/2006/relationships/tags" Target="../tags/tag95.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3.xml"/><Relationship Id="rId7" Type="http://schemas.openxmlformats.org/officeDocument/2006/relationships/image" Target="../media/image24.png"/><Relationship Id="rId2" Type="http://schemas.openxmlformats.org/officeDocument/2006/relationships/tags" Target="../tags/tag96.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6" cstate="print">
            <a:extLst>
              <a:ext uri="{28A0092B-C50C-407E-A947-70E740481C1C}">
                <a14:useLocalDpi xmlns:a14="http://schemas.microsoft.com/office/drawing/2010/main" val="0"/>
              </a:ext>
            </a:extLst>
          </a:blip>
          <a:srcRect l="5158" t="12725" r="6605" b="12543"/>
          <a:stretch/>
        </p:blipFill>
        <p:spPr>
          <a:xfrm>
            <a:off x="0" y="-1"/>
            <a:ext cx="12189600" cy="6858857"/>
          </a:xfrm>
          <a:prstGeom prst="rect">
            <a:avLst/>
          </a:prstGeom>
        </p:spPr>
      </p:pic>
      <p:sp>
        <p:nvSpPr>
          <p:cNvPr id="10" name="Fix/0,6/0/4,8/19,05"/>
          <p:cNvSpPr>
            <a:spLocks noChangeArrowheads="1"/>
          </p:cNvSpPr>
          <p:nvPr>
            <p:custDataLst>
              <p:tags r:id="rId2"/>
            </p:custDataLst>
          </p:nvPr>
        </p:nvSpPr>
        <p:spPr bwMode="auto">
          <a:xfrm>
            <a:off x="216027" y="0"/>
            <a:ext cx="1728216" cy="6858857"/>
          </a:xfrm>
          <a:prstGeom prst="rect">
            <a:avLst/>
          </a:prstGeom>
          <a:solidFill>
            <a:schemeClr val="accent1">
              <a:alpha val="60000"/>
            </a:schemeClr>
          </a:solidFill>
          <a:ln>
            <a:noFill/>
          </a:ln>
          <a:effectLs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solidFill>
              <a:effectLst/>
              <a:uLnTx/>
              <a:uFillTx/>
              <a:latin typeface="Arial"/>
              <a:ea typeface="+mn-ea"/>
              <a:cs typeface="+mn-cs"/>
            </a:endParaRPr>
          </a:p>
        </p:txBody>
      </p:sp>
      <p:pic>
        <p:nvPicPr>
          <p:cNvPr id="11" name="Fix/0,6/13,64/4,8/4,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6027" y="4912077"/>
            <a:ext cx="1729016" cy="1729016"/>
          </a:xfrm>
          <a:prstGeom prst="rect">
            <a:avLst/>
          </a:prstGeom>
        </p:spPr>
      </p:pic>
      <p:graphicFrame>
        <p:nvGraphicFramePr>
          <p:cNvPr id="2" name="Objekt 1" hidden="1"/>
          <p:cNvGraphicFramePr>
            <a:graphicFrameLocks noChangeAspect="1"/>
          </p:cNvGraphicFramePr>
          <p:nvPr>
            <p:custDataLst>
              <p:tags r:id="rId3"/>
            </p:custDataLst>
            <p:extLst/>
          </p:nvPr>
        </p:nvGraphicFramePr>
        <p:xfrm>
          <a:off x="1523206" y="0"/>
          <a:ext cx="158750" cy="158750"/>
        </p:xfrm>
        <a:graphic>
          <a:graphicData uri="http://schemas.openxmlformats.org/presentationml/2006/ole">
            <mc:AlternateContent xmlns:mc="http://schemas.openxmlformats.org/markup-compatibility/2006">
              <mc:Choice xmlns:v="urn:schemas-microsoft-com:vml" Requires="v">
                <p:oleObj spid="_x0000_s69665" name="think-cell Folie" r:id="rId8" imgW="270" imgH="270" progId="TCLayout.ActiveDocument.1">
                  <p:embed/>
                </p:oleObj>
              </mc:Choice>
              <mc:Fallback>
                <p:oleObj name="think-cell Folie" r:id="rId8" imgW="270" imgH="270" progId="TCLayout.ActiveDocument.1">
                  <p:embed/>
                  <p:pic>
                    <p:nvPicPr>
                      <p:cNvPr id="2" name="Objekt 1" hidden="1"/>
                      <p:cNvPicPr/>
                      <p:nvPr/>
                    </p:nvPicPr>
                    <p:blipFill>
                      <a:blip r:embed="rId9"/>
                      <a:stretch>
                        <a:fillRect/>
                      </a:stretch>
                    </p:blipFill>
                    <p:spPr>
                      <a:xfrm>
                        <a:off x="1523206" y="0"/>
                        <a:ext cx="158750" cy="158750"/>
                      </a:xfrm>
                      <a:prstGeom prst="rect">
                        <a:avLst/>
                      </a:prstGeom>
                    </p:spPr>
                  </p:pic>
                </p:oleObj>
              </mc:Fallback>
            </mc:AlternateContent>
          </a:graphicData>
        </a:graphic>
      </p:graphicFrame>
      <p:sp>
        <p:nvSpPr>
          <p:cNvPr id="6" name="Titel 5"/>
          <p:cNvSpPr>
            <a:spLocks noGrp="1"/>
          </p:cNvSpPr>
          <p:nvPr>
            <p:ph type="ctrTitle"/>
          </p:nvPr>
        </p:nvSpPr>
        <p:spPr bwMode="gray">
          <a:xfrm>
            <a:off x="2196625" y="5299585"/>
            <a:ext cx="9756775" cy="954000"/>
          </a:xfrm>
        </p:spPr>
        <p:txBody>
          <a:bodyPr/>
          <a:lstStyle/>
          <a:p>
            <a:r>
              <a:rPr lang="en-US" dirty="0">
                <a:solidFill>
                  <a:schemeClr val="bg1"/>
                </a:solidFill>
              </a:rPr>
              <a:t>RETC -  BASF  Peruana  S.A.</a:t>
            </a:r>
          </a:p>
        </p:txBody>
      </p:sp>
      <p:sp>
        <p:nvSpPr>
          <p:cNvPr id="5" name="Untertitel 4"/>
          <p:cNvSpPr>
            <a:spLocks noGrp="1"/>
          </p:cNvSpPr>
          <p:nvPr>
            <p:ph type="subTitle" idx="1"/>
          </p:nvPr>
        </p:nvSpPr>
        <p:spPr bwMode="gray">
          <a:xfrm>
            <a:off x="8651490" y="6303093"/>
            <a:ext cx="3301285" cy="432000"/>
          </a:xfrm>
        </p:spPr>
        <p:txBody>
          <a:bodyPr/>
          <a:lstStyle/>
          <a:p>
            <a:r>
              <a:rPr lang="de-DE" dirty="0">
                <a:solidFill>
                  <a:schemeClr val="bg1"/>
                </a:solidFill>
              </a:rPr>
              <a:t>Lima, 03 de  noviembre 2017</a:t>
            </a:r>
          </a:p>
        </p:txBody>
      </p:sp>
      <p:sp>
        <p:nvSpPr>
          <p:cNvPr id="4" name="Foliennummernplatzhalter 3"/>
          <p:cNvSpPr>
            <a:spLocks noGrp="1"/>
          </p:cNvSpPr>
          <p:nvPr>
            <p:ph type="sldNum" sz="quarter" idx="12"/>
          </p:nvPr>
        </p:nvSpPr>
        <p:spPr/>
        <p:txBody>
          <a:bodyPr/>
          <a:lstStyle/>
          <a:p>
            <a:pPr marL="0" marR="0" lvl="0" indent="0" algn="r" defTabSz="914400" rtl="0" eaLnBrk="1" fontAlgn="auto" latinLnBrk="0" hangingPunct="1">
              <a:lnSpc>
                <a:spcPct val="100000"/>
              </a:lnSpc>
              <a:spcBef>
                <a:spcPct val="110000"/>
              </a:spcBef>
              <a:spcAft>
                <a:spcPct val="110000"/>
              </a:spcAft>
              <a:buClrTx/>
              <a:buSzTx/>
              <a:buFontTx/>
              <a:buNone/>
              <a:tabLst/>
              <a:defRPr/>
            </a:pPr>
            <a:fld id="{4146F901-79EA-41B8-B83B-89B0E2FED71F}" type="slidenum">
              <a:rPr kumimoji="0" lang="de-DE" sz="8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914400" rtl="0" eaLnBrk="1" fontAlgn="auto" latinLnBrk="0" hangingPunct="1">
                <a:lnSpc>
                  <a:spcPct val="100000"/>
                </a:lnSpc>
                <a:spcBef>
                  <a:spcPct val="110000"/>
                </a:spcBef>
                <a:spcAft>
                  <a:spcPct val="110000"/>
                </a:spcAft>
                <a:buClrTx/>
                <a:buSzTx/>
                <a:buFontTx/>
                <a:buNone/>
                <a:tabLst/>
                <a:defRPr/>
              </a:pPr>
              <a:t>1</a:t>
            </a:fld>
            <a:endParaRPr kumimoji="0" lang="de-DE" sz="800" b="0" i="0" u="none" strike="noStrike" kern="1200" cap="none" spc="0" normalizeH="0" baseline="0" noProof="0">
              <a:ln>
                <a:noFill/>
              </a:ln>
              <a:solidFill>
                <a:srgbClr val="000000">
                  <a:tint val="75000"/>
                </a:srgbClr>
              </a:solidFill>
              <a:effectLst/>
              <a:uLnTx/>
              <a:uFillTx/>
              <a:latin typeface="Arial"/>
              <a:ea typeface="+mn-ea"/>
              <a:cs typeface="+mn-cs"/>
            </a:endParaRPr>
          </a:p>
        </p:txBody>
      </p:sp>
    </p:spTree>
    <p:extLst>
      <p:ext uri="{BB962C8B-B14F-4D97-AF65-F5344CB8AC3E}">
        <p14:creationId xmlns:p14="http://schemas.microsoft.com/office/powerpoint/2010/main" val="923050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2C88147-067E-4547-8780-9E54418534EA}"/>
              </a:ext>
            </a:extLst>
          </p:cNvPr>
          <p:cNvSpPr>
            <a:spLocks noGrp="1"/>
          </p:cNvSpPr>
          <p:nvPr>
            <p:ph type="title"/>
          </p:nvPr>
        </p:nvSpPr>
        <p:spPr/>
        <p:txBody>
          <a:bodyPr/>
          <a:lstStyle/>
          <a:p>
            <a:r>
              <a:rPr lang="en-US" dirty="0" err="1"/>
              <a:t>Nuestras</a:t>
            </a:r>
            <a:r>
              <a:rPr lang="en-US" dirty="0"/>
              <a:t> </a:t>
            </a:r>
            <a:r>
              <a:rPr lang="en-US" dirty="0" err="1"/>
              <a:t>Metas</a:t>
            </a:r>
            <a:endParaRPr lang="es-PE" dirty="0"/>
          </a:p>
        </p:txBody>
      </p:sp>
      <p:sp>
        <p:nvSpPr>
          <p:cNvPr id="4" name="Marcador de número de diapositiva 3">
            <a:extLst>
              <a:ext uri="{FF2B5EF4-FFF2-40B4-BE49-F238E27FC236}">
                <a16:creationId xmlns:a16="http://schemas.microsoft.com/office/drawing/2014/main" id="{154B9123-5E40-415E-8DD2-823ADE7C60B7}"/>
              </a:ext>
            </a:extLst>
          </p:cNvPr>
          <p:cNvSpPr>
            <a:spLocks noGrp="1"/>
          </p:cNvSpPr>
          <p:nvPr>
            <p:ph type="sldNum" sz="quarter" idx="10"/>
          </p:nvPr>
        </p:nvSpPr>
        <p:spPr/>
        <p:txBody>
          <a:bodyPr/>
          <a:lstStyle/>
          <a:p>
            <a:fld id="{9ED39FAB-3417-4E61-A69A-10C0CE33FFC4}" type="slidenum">
              <a:rPr lang="de-DE" smtClean="0"/>
              <a:pPr/>
              <a:t>10</a:t>
            </a:fld>
            <a:endParaRPr lang="de-DE"/>
          </a:p>
        </p:txBody>
      </p:sp>
      <p:pic>
        <p:nvPicPr>
          <p:cNvPr id="5" name="Imagen 4">
            <a:extLst>
              <a:ext uri="{FF2B5EF4-FFF2-40B4-BE49-F238E27FC236}">
                <a16:creationId xmlns:a16="http://schemas.microsoft.com/office/drawing/2014/main" id="{EB2CDBDB-CAB3-4FFF-98A9-5A941F83494B}"/>
              </a:ext>
            </a:extLst>
          </p:cNvPr>
          <p:cNvPicPr>
            <a:picLocks noChangeAspect="1"/>
          </p:cNvPicPr>
          <p:nvPr/>
        </p:nvPicPr>
        <p:blipFill>
          <a:blip r:embed="rId2"/>
          <a:stretch>
            <a:fillRect/>
          </a:stretch>
        </p:blipFill>
        <p:spPr>
          <a:xfrm>
            <a:off x="1015792" y="1718838"/>
            <a:ext cx="10227987" cy="2013066"/>
          </a:xfrm>
          <a:prstGeom prst="rect">
            <a:avLst/>
          </a:prstGeom>
        </p:spPr>
      </p:pic>
      <p:sp>
        <p:nvSpPr>
          <p:cNvPr id="6" name="CuadroTexto 5">
            <a:extLst>
              <a:ext uri="{FF2B5EF4-FFF2-40B4-BE49-F238E27FC236}">
                <a16:creationId xmlns:a16="http://schemas.microsoft.com/office/drawing/2014/main" id="{788C5ABE-2F05-4DC5-962F-9DF3E78E2CCF}"/>
              </a:ext>
            </a:extLst>
          </p:cNvPr>
          <p:cNvSpPr txBox="1"/>
          <p:nvPr/>
        </p:nvSpPr>
        <p:spPr>
          <a:xfrm>
            <a:off x="532587" y="4013488"/>
            <a:ext cx="10765196" cy="369332"/>
          </a:xfrm>
          <a:prstGeom prst="rect">
            <a:avLst/>
          </a:prstGeom>
          <a:noFill/>
        </p:spPr>
        <p:txBody>
          <a:bodyPr wrap="square" rtlCol="0">
            <a:spAutoFit/>
          </a:bodyPr>
          <a:lstStyle/>
          <a:p>
            <a:r>
              <a:rPr lang="es-PE" dirty="0"/>
              <a:t>Todas la metas ayudan de la mano a poder redefinir las metas que tenemos como región y corporación  </a:t>
            </a:r>
          </a:p>
        </p:txBody>
      </p:sp>
      <p:sp>
        <p:nvSpPr>
          <p:cNvPr id="7" name="AutoShape 9">
            <a:extLst>
              <a:ext uri="{FF2B5EF4-FFF2-40B4-BE49-F238E27FC236}">
                <a16:creationId xmlns:a16="http://schemas.microsoft.com/office/drawing/2014/main" id="{A6E11395-60A2-49AB-B84B-DC71A71C3774}"/>
              </a:ext>
            </a:extLst>
          </p:cNvPr>
          <p:cNvSpPr>
            <a:spLocks noChangeArrowheads="1"/>
          </p:cNvSpPr>
          <p:nvPr/>
        </p:nvSpPr>
        <p:spPr bwMode="gray">
          <a:xfrm>
            <a:off x="2094261" y="5692804"/>
            <a:ext cx="2078788" cy="846138"/>
          </a:xfrm>
          <a:prstGeom prst="downArrow">
            <a:avLst>
              <a:gd name="adj1" fmla="val 100000"/>
              <a:gd name="adj2" fmla="val 31954"/>
            </a:avLst>
          </a:prstGeom>
          <a:solidFill>
            <a:schemeClr val="accent1"/>
          </a:solidFill>
          <a:ln w="38100">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dirty="0">
              <a:latin typeface="Arial"/>
              <a:cs typeface="Arial"/>
              <a:sym typeface="Arial"/>
            </a:endParaRPr>
          </a:p>
        </p:txBody>
      </p:sp>
      <p:sp>
        <p:nvSpPr>
          <p:cNvPr id="8" name="Text Box 6">
            <a:extLst>
              <a:ext uri="{FF2B5EF4-FFF2-40B4-BE49-F238E27FC236}">
                <a16:creationId xmlns:a16="http://schemas.microsoft.com/office/drawing/2014/main" id="{B8A8E428-2965-4E3A-B458-01A211571413}"/>
              </a:ext>
            </a:extLst>
          </p:cNvPr>
          <p:cNvSpPr txBox="1">
            <a:spLocks noChangeArrowheads="1"/>
          </p:cNvSpPr>
          <p:nvPr/>
        </p:nvSpPr>
        <p:spPr bwMode="auto">
          <a:xfrm>
            <a:off x="2665052" y="5931079"/>
            <a:ext cx="93134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spcBef>
                <a:spcPct val="30000"/>
              </a:spcBef>
            </a:pPr>
            <a:r>
              <a:rPr lang="en-US" sz="3000" b="1" dirty="0">
                <a:solidFill>
                  <a:schemeClr val="bg1"/>
                </a:solidFill>
              </a:rPr>
              <a:t>-</a:t>
            </a:r>
            <a:r>
              <a:rPr lang="en-US" sz="1000" b="1" dirty="0">
                <a:solidFill>
                  <a:schemeClr val="bg1"/>
                </a:solidFill>
              </a:rPr>
              <a:t> </a:t>
            </a:r>
            <a:r>
              <a:rPr lang="en-US" sz="3000" b="1" dirty="0">
                <a:solidFill>
                  <a:schemeClr val="bg1"/>
                </a:solidFill>
              </a:rPr>
              <a:t>40%</a:t>
            </a:r>
          </a:p>
        </p:txBody>
      </p:sp>
      <p:sp>
        <p:nvSpPr>
          <p:cNvPr id="9" name="Text Box 7">
            <a:extLst>
              <a:ext uri="{FF2B5EF4-FFF2-40B4-BE49-F238E27FC236}">
                <a16:creationId xmlns:a16="http://schemas.microsoft.com/office/drawing/2014/main" id="{1134F203-CA44-4611-A594-91431D49E486}"/>
              </a:ext>
            </a:extLst>
          </p:cNvPr>
          <p:cNvSpPr txBox="1">
            <a:spLocks noChangeArrowheads="1"/>
          </p:cNvSpPr>
          <p:nvPr/>
        </p:nvSpPr>
        <p:spPr bwMode="auto">
          <a:xfrm>
            <a:off x="802618" y="4586704"/>
            <a:ext cx="4667945" cy="993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spcBef>
                <a:spcPts val="400"/>
              </a:spcBef>
            </a:pPr>
            <a:r>
              <a:rPr lang="en-US" b="1" dirty="0">
                <a:solidFill>
                  <a:schemeClr val="accent1"/>
                </a:solidFill>
              </a:rPr>
              <a:t> </a:t>
            </a:r>
            <a:br>
              <a:rPr lang="en-US" b="1" dirty="0">
                <a:solidFill>
                  <a:schemeClr val="accent1"/>
                </a:solidFill>
              </a:rPr>
            </a:br>
            <a:r>
              <a:rPr lang="en-US" b="1" dirty="0">
                <a:solidFill>
                  <a:schemeClr val="accent1"/>
                </a:solidFill>
              </a:rPr>
              <a:t>Emisiones de gases de </a:t>
            </a:r>
            <a:r>
              <a:rPr lang="en-US" b="1" dirty="0" err="1">
                <a:solidFill>
                  <a:schemeClr val="accent1"/>
                </a:solidFill>
              </a:rPr>
              <a:t>efecto</a:t>
            </a:r>
            <a:r>
              <a:rPr lang="en-US" b="1" dirty="0">
                <a:solidFill>
                  <a:schemeClr val="accent1"/>
                </a:solidFill>
              </a:rPr>
              <a:t> </a:t>
            </a:r>
            <a:r>
              <a:rPr lang="en-US" b="1" dirty="0" err="1">
                <a:solidFill>
                  <a:schemeClr val="accent1"/>
                </a:solidFill>
              </a:rPr>
              <a:t>invernadero</a:t>
            </a:r>
            <a:endParaRPr lang="en-US" b="1" dirty="0">
              <a:solidFill>
                <a:schemeClr val="accent1"/>
              </a:solidFill>
            </a:endParaRPr>
          </a:p>
          <a:p>
            <a:pPr algn="ctr" eaLnBrk="1" hangingPunct="1">
              <a:lnSpc>
                <a:spcPct val="90000"/>
              </a:lnSpc>
              <a:spcBef>
                <a:spcPts val="400"/>
              </a:spcBef>
            </a:pPr>
            <a:r>
              <a:rPr lang="en-US" sz="1600" dirty="0"/>
              <a:t>Por </a:t>
            </a:r>
            <a:r>
              <a:rPr lang="en-US" sz="1600" dirty="0" err="1"/>
              <a:t>tonelada</a:t>
            </a:r>
            <a:r>
              <a:rPr lang="en-US" sz="1600" dirty="0"/>
              <a:t> de </a:t>
            </a:r>
            <a:r>
              <a:rPr lang="en-US" sz="1600" dirty="0" err="1"/>
              <a:t>productos</a:t>
            </a:r>
            <a:r>
              <a:rPr lang="en-US" sz="1600" dirty="0"/>
              <a:t> </a:t>
            </a:r>
            <a:r>
              <a:rPr lang="en-US" sz="1600" dirty="0" err="1"/>
              <a:t>vendido</a:t>
            </a:r>
            <a:r>
              <a:rPr lang="en-US" sz="1600" dirty="0"/>
              <a:t> para el </a:t>
            </a:r>
            <a:br>
              <a:rPr lang="en-US" sz="1600" dirty="0"/>
            </a:br>
            <a:r>
              <a:rPr lang="en-US" sz="1600" dirty="0"/>
              <a:t>2020 (</a:t>
            </a:r>
            <a:r>
              <a:rPr lang="en-US" sz="1600" dirty="0" err="1"/>
              <a:t>linea</a:t>
            </a:r>
            <a:r>
              <a:rPr lang="en-US" sz="1600" dirty="0"/>
              <a:t> base 2002)*</a:t>
            </a:r>
          </a:p>
        </p:txBody>
      </p:sp>
      <p:sp>
        <p:nvSpPr>
          <p:cNvPr id="10" name="Text Box 7">
            <a:extLst>
              <a:ext uri="{FF2B5EF4-FFF2-40B4-BE49-F238E27FC236}">
                <a16:creationId xmlns:a16="http://schemas.microsoft.com/office/drawing/2014/main" id="{0898E75E-862F-4F05-B166-5AAFA63E9BD2}"/>
              </a:ext>
            </a:extLst>
          </p:cNvPr>
          <p:cNvSpPr txBox="1">
            <a:spLocks noChangeArrowheads="1"/>
          </p:cNvSpPr>
          <p:nvPr/>
        </p:nvSpPr>
        <p:spPr bwMode="auto">
          <a:xfrm>
            <a:off x="5915185" y="4586704"/>
            <a:ext cx="5946003" cy="9930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spcBef>
                <a:spcPts val="400"/>
              </a:spcBef>
            </a:pPr>
            <a:r>
              <a:rPr lang="en-US" b="1" dirty="0">
                <a:solidFill>
                  <a:schemeClr val="accent1"/>
                </a:solidFill>
              </a:rPr>
              <a:t> </a:t>
            </a:r>
            <a:br>
              <a:rPr lang="en-US" b="1" dirty="0">
                <a:solidFill>
                  <a:schemeClr val="accent1"/>
                </a:solidFill>
              </a:rPr>
            </a:br>
            <a:r>
              <a:rPr lang="en-US" b="1" dirty="0">
                <a:solidFill>
                  <a:schemeClr val="accent1"/>
                </a:solidFill>
              </a:rPr>
              <a:t>Energy efficiency</a:t>
            </a:r>
          </a:p>
          <a:p>
            <a:pPr algn="ctr" eaLnBrk="1" hangingPunct="1">
              <a:lnSpc>
                <a:spcPct val="90000"/>
              </a:lnSpc>
              <a:spcBef>
                <a:spcPts val="400"/>
              </a:spcBef>
            </a:pPr>
            <a:r>
              <a:rPr lang="en-US" sz="1600" dirty="0"/>
              <a:t>Implementation del Sistema (ISO 50001) </a:t>
            </a:r>
            <a:r>
              <a:rPr lang="en-US" sz="1600" dirty="0" err="1"/>
              <a:t>en</a:t>
            </a:r>
            <a:r>
              <a:rPr lang="en-US" sz="1600" dirty="0"/>
              <a:t> </a:t>
            </a:r>
            <a:r>
              <a:rPr lang="en-US" sz="1600" dirty="0" err="1"/>
              <a:t>todos</a:t>
            </a:r>
            <a:r>
              <a:rPr lang="en-US" sz="1600" dirty="0"/>
              <a:t> </a:t>
            </a:r>
            <a:r>
              <a:rPr lang="en-US" sz="1600" dirty="0" err="1"/>
              <a:t>los</a:t>
            </a:r>
            <a:r>
              <a:rPr lang="en-US" sz="1600" dirty="0"/>
              <a:t> site </a:t>
            </a:r>
            <a:r>
              <a:rPr lang="en-US" sz="1600" dirty="0" err="1"/>
              <a:t>relevantes</a:t>
            </a:r>
            <a:endParaRPr lang="en-US" sz="1600" dirty="0"/>
          </a:p>
        </p:txBody>
      </p:sp>
      <p:sp>
        <p:nvSpPr>
          <p:cNvPr id="11" name="Line 9">
            <a:extLst>
              <a:ext uri="{FF2B5EF4-FFF2-40B4-BE49-F238E27FC236}">
                <a16:creationId xmlns:a16="http://schemas.microsoft.com/office/drawing/2014/main" id="{C6D9D1C3-DB2B-4162-B7A9-CD62A2E1999F}"/>
              </a:ext>
            </a:extLst>
          </p:cNvPr>
          <p:cNvSpPr>
            <a:spLocks noChangeShapeType="1"/>
          </p:cNvSpPr>
          <p:nvPr/>
        </p:nvSpPr>
        <p:spPr bwMode="auto">
          <a:xfrm>
            <a:off x="1015792" y="5629304"/>
            <a:ext cx="4243541" cy="0"/>
          </a:xfrm>
          <a:prstGeom prst="line">
            <a:avLst/>
          </a:prstGeom>
          <a:noFill/>
          <a:ln w="254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Arial"/>
              <a:cs typeface="Arial"/>
              <a:sym typeface="Arial"/>
            </a:endParaRPr>
          </a:p>
        </p:txBody>
      </p:sp>
      <p:sp>
        <p:nvSpPr>
          <p:cNvPr id="12" name="AutoShape 16">
            <a:extLst>
              <a:ext uri="{FF2B5EF4-FFF2-40B4-BE49-F238E27FC236}">
                <a16:creationId xmlns:a16="http://schemas.microsoft.com/office/drawing/2014/main" id="{9EE39E10-0559-4EF0-81A6-40AB6E95BA2B}"/>
              </a:ext>
            </a:extLst>
          </p:cNvPr>
          <p:cNvSpPr>
            <a:spLocks noChangeArrowheads="1"/>
          </p:cNvSpPr>
          <p:nvPr/>
        </p:nvSpPr>
        <p:spPr bwMode="gray">
          <a:xfrm rot="10800000">
            <a:off x="7533835" y="5713442"/>
            <a:ext cx="2078788" cy="844550"/>
          </a:xfrm>
          <a:prstGeom prst="downArrow">
            <a:avLst>
              <a:gd name="adj1" fmla="val 100000"/>
              <a:gd name="adj2" fmla="val 31954"/>
            </a:avLst>
          </a:prstGeom>
          <a:solidFill>
            <a:schemeClr val="accent1"/>
          </a:solidFill>
          <a:ln w="38100">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endParaRPr lang="en-US" dirty="0">
              <a:solidFill>
                <a:srgbClr val="000000"/>
              </a:solidFill>
              <a:latin typeface="Arial"/>
              <a:cs typeface="Arial"/>
              <a:sym typeface="Arial"/>
            </a:endParaRPr>
          </a:p>
        </p:txBody>
      </p:sp>
      <p:sp>
        <p:nvSpPr>
          <p:cNvPr id="13" name="Text Box 6">
            <a:extLst>
              <a:ext uri="{FF2B5EF4-FFF2-40B4-BE49-F238E27FC236}">
                <a16:creationId xmlns:a16="http://schemas.microsoft.com/office/drawing/2014/main" id="{A22BECBB-6EE4-4B44-800B-6AB34B72D59E}"/>
              </a:ext>
            </a:extLst>
          </p:cNvPr>
          <p:cNvSpPr txBox="1">
            <a:spLocks noChangeArrowheads="1"/>
          </p:cNvSpPr>
          <p:nvPr/>
        </p:nvSpPr>
        <p:spPr bwMode="auto">
          <a:xfrm>
            <a:off x="8189311" y="5931079"/>
            <a:ext cx="76783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90000"/>
              </a:lnSpc>
              <a:spcBef>
                <a:spcPct val="30000"/>
              </a:spcBef>
            </a:pPr>
            <a:r>
              <a:rPr lang="en-US" sz="3000" b="1" dirty="0">
                <a:solidFill>
                  <a:srgbClr val="FFFFFF"/>
                </a:solidFill>
              </a:rPr>
              <a:t>90%</a:t>
            </a:r>
          </a:p>
        </p:txBody>
      </p:sp>
      <p:sp>
        <p:nvSpPr>
          <p:cNvPr id="14" name="Line 9">
            <a:extLst>
              <a:ext uri="{FF2B5EF4-FFF2-40B4-BE49-F238E27FC236}">
                <a16:creationId xmlns:a16="http://schemas.microsoft.com/office/drawing/2014/main" id="{5DDEE6AD-A65F-4911-A623-66BFDBFE4CD5}"/>
              </a:ext>
            </a:extLst>
          </p:cNvPr>
          <p:cNvSpPr>
            <a:spLocks noChangeShapeType="1"/>
          </p:cNvSpPr>
          <p:nvPr/>
        </p:nvSpPr>
        <p:spPr bwMode="auto">
          <a:xfrm>
            <a:off x="6525080" y="5629304"/>
            <a:ext cx="4243541" cy="0"/>
          </a:xfrm>
          <a:prstGeom prst="line">
            <a:avLst/>
          </a:prstGeom>
          <a:noFill/>
          <a:ln w="254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latin typeface="Arial"/>
              <a:cs typeface="Arial"/>
              <a:sym typeface="Arial"/>
            </a:endParaRPr>
          </a:p>
        </p:txBody>
      </p:sp>
      <p:sp>
        <p:nvSpPr>
          <p:cNvPr id="15" name="Textfeld 1">
            <a:extLst>
              <a:ext uri="{FF2B5EF4-FFF2-40B4-BE49-F238E27FC236}">
                <a16:creationId xmlns:a16="http://schemas.microsoft.com/office/drawing/2014/main" id="{8514D737-DD3A-456E-ACAD-851E05535490}"/>
              </a:ext>
            </a:extLst>
          </p:cNvPr>
          <p:cNvSpPr txBox="1">
            <a:spLocks noChangeArrowheads="1"/>
          </p:cNvSpPr>
          <p:nvPr/>
        </p:nvSpPr>
        <p:spPr bwMode="auto">
          <a:xfrm>
            <a:off x="4308170" y="5686455"/>
            <a:ext cx="795089"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90000"/>
              </a:lnSpc>
            </a:pPr>
            <a:r>
              <a:rPr lang="en-US" sz="1600" dirty="0">
                <a:solidFill>
                  <a:schemeClr val="accent6"/>
                </a:solidFill>
              </a:rPr>
              <a:t>Status </a:t>
            </a:r>
            <a:br>
              <a:rPr lang="en-US" sz="1600" dirty="0">
                <a:solidFill>
                  <a:schemeClr val="accent6"/>
                </a:solidFill>
              </a:rPr>
            </a:br>
            <a:r>
              <a:rPr lang="en-US" sz="1600" dirty="0">
                <a:solidFill>
                  <a:schemeClr val="accent6"/>
                </a:solidFill>
              </a:rPr>
              <a:t>2016: </a:t>
            </a:r>
            <a:br>
              <a:rPr lang="en-US" sz="1600" dirty="0">
                <a:solidFill>
                  <a:schemeClr val="accent6"/>
                </a:solidFill>
              </a:rPr>
            </a:br>
            <a:r>
              <a:rPr lang="en-US" b="1" dirty="0">
                <a:solidFill>
                  <a:schemeClr val="accent6"/>
                </a:solidFill>
              </a:rPr>
              <a:t>-37.2 %</a:t>
            </a:r>
          </a:p>
        </p:txBody>
      </p:sp>
      <p:sp>
        <p:nvSpPr>
          <p:cNvPr id="16" name="Textfeld 1">
            <a:extLst>
              <a:ext uri="{FF2B5EF4-FFF2-40B4-BE49-F238E27FC236}">
                <a16:creationId xmlns:a16="http://schemas.microsoft.com/office/drawing/2014/main" id="{124693F8-84CF-490B-B302-69D5A7C85E18}"/>
              </a:ext>
            </a:extLst>
          </p:cNvPr>
          <p:cNvSpPr txBox="1">
            <a:spLocks noChangeArrowheads="1"/>
          </p:cNvSpPr>
          <p:nvPr/>
        </p:nvSpPr>
        <p:spPr bwMode="auto">
          <a:xfrm>
            <a:off x="9728114" y="5684708"/>
            <a:ext cx="718145"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90000"/>
              </a:lnSpc>
            </a:pPr>
            <a:r>
              <a:rPr lang="en-US" sz="1600" dirty="0">
                <a:solidFill>
                  <a:schemeClr val="accent6"/>
                </a:solidFill>
              </a:rPr>
              <a:t>Status </a:t>
            </a:r>
            <a:br>
              <a:rPr lang="en-US" sz="1600" dirty="0">
                <a:solidFill>
                  <a:schemeClr val="accent6"/>
                </a:solidFill>
              </a:rPr>
            </a:br>
            <a:r>
              <a:rPr lang="en-US" sz="1600" dirty="0">
                <a:solidFill>
                  <a:schemeClr val="accent6"/>
                </a:solidFill>
              </a:rPr>
              <a:t>2016: </a:t>
            </a:r>
            <a:br>
              <a:rPr lang="en-US" sz="1600" dirty="0">
                <a:solidFill>
                  <a:schemeClr val="accent6"/>
                </a:solidFill>
              </a:rPr>
            </a:br>
            <a:r>
              <a:rPr lang="en-US" b="1" dirty="0">
                <a:solidFill>
                  <a:schemeClr val="accent6"/>
                </a:solidFill>
              </a:rPr>
              <a:t>42.3 %</a:t>
            </a:r>
          </a:p>
        </p:txBody>
      </p:sp>
    </p:spTree>
    <p:extLst>
      <p:ext uri="{BB962C8B-B14F-4D97-AF65-F5344CB8AC3E}">
        <p14:creationId xmlns:p14="http://schemas.microsoft.com/office/powerpoint/2010/main" val="3460901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239D56A-80D4-4248-8610-E5602B019DA9}"/>
              </a:ext>
            </a:extLst>
          </p:cNvPr>
          <p:cNvSpPr>
            <a:spLocks noGrp="1"/>
          </p:cNvSpPr>
          <p:nvPr>
            <p:ph type="title"/>
          </p:nvPr>
        </p:nvSpPr>
        <p:spPr/>
        <p:txBody>
          <a:bodyPr/>
          <a:lstStyle/>
          <a:p>
            <a:r>
              <a:rPr lang="es-PE" dirty="0" err="1"/>
              <a:t>Responsible</a:t>
            </a:r>
            <a:r>
              <a:rPr lang="es-PE" dirty="0"/>
              <a:t> </a:t>
            </a:r>
            <a:r>
              <a:rPr lang="es-PE" dirty="0" err="1"/>
              <a:t>Care</a:t>
            </a:r>
            <a:r>
              <a:rPr lang="es-PE" dirty="0"/>
              <a:t>®</a:t>
            </a:r>
          </a:p>
        </p:txBody>
      </p:sp>
      <p:sp>
        <p:nvSpPr>
          <p:cNvPr id="4" name="Marcador de número de diapositiva 3">
            <a:extLst>
              <a:ext uri="{FF2B5EF4-FFF2-40B4-BE49-F238E27FC236}">
                <a16:creationId xmlns:a16="http://schemas.microsoft.com/office/drawing/2014/main" id="{219C5639-ACB6-4E8B-957B-76565E00E6E1}"/>
              </a:ext>
            </a:extLst>
          </p:cNvPr>
          <p:cNvSpPr>
            <a:spLocks noGrp="1"/>
          </p:cNvSpPr>
          <p:nvPr>
            <p:ph type="sldNum" sz="quarter" idx="10"/>
          </p:nvPr>
        </p:nvSpPr>
        <p:spPr/>
        <p:txBody>
          <a:bodyPr/>
          <a:lstStyle/>
          <a:p>
            <a:fld id="{9ED39FAB-3417-4E61-A69A-10C0CE33FFC4}" type="slidenum">
              <a:rPr lang="de-DE" smtClean="0"/>
              <a:pPr/>
              <a:t>11</a:t>
            </a:fld>
            <a:endParaRPr lang="de-DE"/>
          </a:p>
        </p:txBody>
      </p:sp>
      <p:grpSp>
        <p:nvGrpSpPr>
          <p:cNvPr id="5" name="Group 7">
            <a:extLst>
              <a:ext uri="{FF2B5EF4-FFF2-40B4-BE49-F238E27FC236}">
                <a16:creationId xmlns:a16="http://schemas.microsoft.com/office/drawing/2014/main" id="{18278F95-3EED-43EF-8636-FB252ECA48E6}"/>
              </a:ext>
            </a:extLst>
          </p:cNvPr>
          <p:cNvGrpSpPr>
            <a:grpSpLocks/>
          </p:cNvGrpSpPr>
          <p:nvPr/>
        </p:nvGrpSpPr>
        <p:grpSpPr bwMode="auto">
          <a:xfrm>
            <a:off x="1198662" y="1910107"/>
            <a:ext cx="2048663" cy="2780757"/>
            <a:chOff x="109" y="1091"/>
            <a:chExt cx="859" cy="1162"/>
          </a:xfrm>
        </p:grpSpPr>
        <p:sp>
          <p:nvSpPr>
            <p:cNvPr id="6" name="Freeform 8">
              <a:extLst>
                <a:ext uri="{FF2B5EF4-FFF2-40B4-BE49-F238E27FC236}">
                  <a16:creationId xmlns:a16="http://schemas.microsoft.com/office/drawing/2014/main" id="{FFAE6499-A0F2-4F0D-A2D7-80A4202A91B4}"/>
                </a:ext>
              </a:extLst>
            </p:cNvPr>
            <p:cNvSpPr>
              <a:spLocks/>
            </p:cNvSpPr>
            <p:nvPr/>
          </p:nvSpPr>
          <p:spPr bwMode="auto">
            <a:xfrm>
              <a:off x="647" y="1109"/>
              <a:ext cx="77" cy="123"/>
            </a:xfrm>
            <a:custGeom>
              <a:avLst/>
              <a:gdLst>
                <a:gd name="T0" fmla="*/ 77 w 399"/>
                <a:gd name="T1" fmla="*/ 62 h 643"/>
                <a:gd name="T2" fmla="*/ 74 w 399"/>
                <a:gd name="T3" fmla="*/ 37 h 643"/>
                <a:gd name="T4" fmla="*/ 66 w 399"/>
                <a:gd name="T5" fmla="*/ 18 h 643"/>
                <a:gd name="T6" fmla="*/ 53 w 399"/>
                <a:gd name="T7" fmla="*/ 5 h 643"/>
                <a:gd name="T8" fmla="*/ 38 w 399"/>
                <a:gd name="T9" fmla="*/ 0 h 643"/>
                <a:gd name="T10" fmla="*/ 24 w 399"/>
                <a:gd name="T11" fmla="*/ 5 h 643"/>
                <a:gd name="T12" fmla="*/ 11 w 399"/>
                <a:gd name="T13" fmla="*/ 18 h 643"/>
                <a:gd name="T14" fmla="*/ 3 w 399"/>
                <a:gd name="T15" fmla="*/ 37 h 643"/>
                <a:gd name="T16" fmla="*/ 0 w 399"/>
                <a:gd name="T17" fmla="*/ 62 h 643"/>
                <a:gd name="T18" fmla="*/ 3 w 399"/>
                <a:gd name="T19" fmla="*/ 85 h 643"/>
                <a:gd name="T20" fmla="*/ 11 w 399"/>
                <a:gd name="T21" fmla="*/ 105 h 643"/>
                <a:gd name="T22" fmla="*/ 24 w 399"/>
                <a:gd name="T23" fmla="*/ 118 h 643"/>
                <a:gd name="T24" fmla="*/ 38 w 399"/>
                <a:gd name="T25" fmla="*/ 123 h 643"/>
                <a:gd name="T26" fmla="*/ 53 w 399"/>
                <a:gd name="T27" fmla="*/ 118 h 643"/>
                <a:gd name="T28" fmla="*/ 66 w 399"/>
                <a:gd name="T29" fmla="*/ 105 h 643"/>
                <a:gd name="T30" fmla="*/ 74 w 399"/>
                <a:gd name="T31" fmla="*/ 85 h 643"/>
                <a:gd name="T32" fmla="*/ 77 w 399"/>
                <a:gd name="T33" fmla="*/ 62 h 6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99" h="643">
                  <a:moveTo>
                    <a:pt x="399" y="322"/>
                  </a:moveTo>
                  <a:lnTo>
                    <a:pt x="383" y="196"/>
                  </a:lnTo>
                  <a:lnTo>
                    <a:pt x="341" y="94"/>
                  </a:lnTo>
                  <a:lnTo>
                    <a:pt x="277" y="25"/>
                  </a:lnTo>
                  <a:lnTo>
                    <a:pt x="199" y="0"/>
                  </a:lnTo>
                  <a:lnTo>
                    <a:pt x="122" y="25"/>
                  </a:lnTo>
                  <a:lnTo>
                    <a:pt x="57" y="94"/>
                  </a:lnTo>
                  <a:lnTo>
                    <a:pt x="14" y="196"/>
                  </a:lnTo>
                  <a:lnTo>
                    <a:pt x="0" y="322"/>
                  </a:lnTo>
                  <a:lnTo>
                    <a:pt x="14" y="446"/>
                  </a:lnTo>
                  <a:lnTo>
                    <a:pt x="57" y="548"/>
                  </a:lnTo>
                  <a:lnTo>
                    <a:pt x="122" y="617"/>
                  </a:lnTo>
                  <a:lnTo>
                    <a:pt x="199" y="643"/>
                  </a:lnTo>
                  <a:lnTo>
                    <a:pt x="277" y="617"/>
                  </a:lnTo>
                  <a:lnTo>
                    <a:pt x="341" y="548"/>
                  </a:lnTo>
                  <a:lnTo>
                    <a:pt x="383" y="446"/>
                  </a:lnTo>
                  <a:lnTo>
                    <a:pt x="399" y="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PE"/>
            </a:p>
          </p:txBody>
        </p:sp>
        <p:sp>
          <p:nvSpPr>
            <p:cNvPr id="7" name="Freeform 9">
              <a:extLst>
                <a:ext uri="{FF2B5EF4-FFF2-40B4-BE49-F238E27FC236}">
                  <a16:creationId xmlns:a16="http://schemas.microsoft.com/office/drawing/2014/main" id="{A01EB535-82FF-497B-AF67-80551256B905}"/>
                </a:ext>
              </a:extLst>
            </p:cNvPr>
            <p:cNvSpPr>
              <a:spLocks/>
            </p:cNvSpPr>
            <p:nvPr/>
          </p:nvSpPr>
          <p:spPr bwMode="auto">
            <a:xfrm>
              <a:off x="647" y="1109"/>
              <a:ext cx="77" cy="123"/>
            </a:xfrm>
            <a:custGeom>
              <a:avLst/>
              <a:gdLst>
                <a:gd name="T0" fmla="*/ 77 w 399"/>
                <a:gd name="T1" fmla="*/ 62 h 643"/>
                <a:gd name="T2" fmla="*/ 74 w 399"/>
                <a:gd name="T3" fmla="*/ 37 h 643"/>
                <a:gd name="T4" fmla="*/ 66 w 399"/>
                <a:gd name="T5" fmla="*/ 18 h 643"/>
                <a:gd name="T6" fmla="*/ 53 w 399"/>
                <a:gd name="T7" fmla="*/ 5 h 643"/>
                <a:gd name="T8" fmla="*/ 38 w 399"/>
                <a:gd name="T9" fmla="*/ 0 h 643"/>
                <a:gd name="T10" fmla="*/ 24 w 399"/>
                <a:gd name="T11" fmla="*/ 5 h 643"/>
                <a:gd name="T12" fmla="*/ 11 w 399"/>
                <a:gd name="T13" fmla="*/ 18 h 643"/>
                <a:gd name="T14" fmla="*/ 3 w 399"/>
                <a:gd name="T15" fmla="*/ 37 h 643"/>
                <a:gd name="T16" fmla="*/ 0 w 399"/>
                <a:gd name="T17" fmla="*/ 62 h 643"/>
                <a:gd name="T18" fmla="*/ 3 w 399"/>
                <a:gd name="T19" fmla="*/ 85 h 643"/>
                <a:gd name="T20" fmla="*/ 11 w 399"/>
                <a:gd name="T21" fmla="*/ 105 h 643"/>
                <a:gd name="T22" fmla="*/ 24 w 399"/>
                <a:gd name="T23" fmla="*/ 118 h 643"/>
                <a:gd name="T24" fmla="*/ 38 w 399"/>
                <a:gd name="T25" fmla="*/ 123 h 643"/>
                <a:gd name="T26" fmla="*/ 53 w 399"/>
                <a:gd name="T27" fmla="*/ 118 h 643"/>
                <a:gd name="T28" fmla="*/ 66 w 399"/>
                <a:gd name="T29" fmla="*/ 105 h 643"/>
                <a:gd name="T30" fmla="*/ 74 w 399"/>
                <a:gd name="T31" fmla="*/ 85 h 643"/>
                <a:gd name="T32" fmla="*/ 77 w 399"/>
                <a:gd name="T33" fmla="*/ 62 h 643"/>
                <a:gd name="T34" fmla="*/ 77 w 399"/>
                <a:gd name="T35" fmla="*/ 62 h 6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99" h="643">
                  <a:moveTo>
                    <a:pt x="399" y="322"/>
                  </a:moveTo>
                  <a:lnTo>
                    <a:pt x="383" y="196"/>
                  </a:lnTo>
                  <a:lnTo>
                    <a:pt x="341" y="94"/>
                  </a:lnTo>
                  <a:lnTo>
                    <a:pt x="277" y="25"/>
                  </a:lnTo>
                  <a:lnTo>
                    <a:pt x="199" y="0"/>
                  </a:lnTo>
                  <a:lnTo>
                    <a:pt x="122" y="25"/>
                  </a:lnTo>
                  <a:lnTo>
                    <a:pt x="57" y="94"/>
                  </a:lnTo>
                  <a:lnTo>
                    <a:pt x="14" y="196"/>
                  </a:lnTo>
                  <a:lnTo>
                    <a:pt x="0" y="322"/>
                  </a:lnTo>
                  <a:lnTo>
                    <a:pt x="14" y="446"/>
                  </a:lnTo>
                  <a:lnTo>
                    <a:pt x="57" y="548"/>
                  </a:lnTo>
                  <a:lnTo>
                    <a:pt x="122" y="617"/>
                  </a:lnTo>
                  <a:lnTo>
                    <a:pt x="199" y="643"/>
                  </a:lnTo>
                  <a:lnTo>
                    <a:pt x="277" y="617"/>
                  </a:lnTo>
                  <a:lnTo>
                    <a:pt x="341" y="548"/>
                  </a:lnTo>
                  <a:lnTo>
                    <a:pt x="383" y="446"/>
                  </a:lnTo>
                  <a:lnTo>
                    <a:pt x="399" y="322"/>
                  </a:lnTo>
                </a:path>
              </a:pathLst>
            </a:custGeom>
            <a:noFill/>
            <a:ln w="12700">
              <a:solidFill>
                <a:srgbClr val="CCFF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s-PE"/>
            </a:p>
          </p:txBody>
        </p:sp>
        <p:sp>
          <p:nvSpPr>
            <p:cNvPr id="8" name="Freeform 10">
              <a:extLst>
                <a:ext uri="{FF2B5EF4-FFF2-40B4-BE49-F238E27FC236}">
                  <a16:creationId xmlns:a16="http://schemas.microsoft.com/office/drawing/2014/main" id="{7D3263DA-EA70-4F7E-B48A-B60BDB2B6C75}"/>
                </a:ext>
              </a:extLst>
            </p:cNvPr>
            <p:cNvSpPr>
              <a:spLocks/>
            </p:cNvSpPr>
            <p:nvPr/>
          </p:nvSpPr>
          <p:spPr bwMode="auto">
            <a:xfrm>
              <a:off x="109" y="1371"/>
              <a:ext cx="357" cy="882"/>
            </a:xfrm>
            <a:custGeom>
              <a:avLst/>
              <a:gdLst>
                <a:gd name="T0" fmla="*/ 201 w 1862"/>
                <a:gd name="T1" fmla="*/ 457 h 4598"/>
                <a:gd name="T2" fmla="*/ 192 w 1862"/>
                <a:gd name="T3" fmla="*/ 465 h 4598"/>
                <a:gd name="T4" fmla="*/ 77 w 1862"/>
                <a:gd name="T5" fmla="*/ 339 h 4598"/>
                <a:gd name="T6" fmla="*/ 69 w 1862"/>
                <a:gd name="T7" fmla="*/ 325 h 4598"/>
                <a:gd name="T8" fmla="*/ 67 w 1862"/>
                <a:gd name="T9" fmla="*/ 310 h 4598"/>
                <a:gd name="T10" fmla="*/ 69 w 1862"/>
                <a:gd name="T11" fmla="*/ 295 h 4598"/>
                <a:gd name="T12" fmla="*/ 75 w 1862"/>
                <a:gd name="T13" fmla="*/ 283 h 4598"/>
                <a:gd name="T14" fmla="*/ 84 w 1862"/>
                <a:gd name="T15" fmla="*/ 273 h 4598"/>
                <a:gd name="T16" fmla="*/ 95 w 1862"/>
                <a:gd name="T17" fmla="*/ 265 h 4598"/>
                <a:gd name="T18" fmla="*/ 95 w 1862"/>
                <a:gd name="T19" fmla="*/ 55 h 4598"/>
                <a:gd name="T20" fmla="*/ 94 w 1862"/>
                <a:gd name="T21" fmla="*/ 40 h 4598"/>
                <a:gd name="T22" fmla="*/ 91 w 1862"/>
                <a:gd name="T23" fmla="*/ 27 h 4598"/>
                <a:gd name="T24" fmla="*/ 86 w 1862"/>
                <a:gd name="T25" fmla="*/ 17 h 4598"/>
                <a:gd name="T26" fmla="*/ 80 w 1862"/>
                <a:gd name="T27" fmla="*/ 10 h 4598"/>
                <a:gd name="T28" fmla="*/ 65 w 1862"/>
                <a:gd name="T29" fmla="*/ 1 h 4598"/>
                <a:gd name="T30" fmla="*/ 47 w 1862"/>
                <a:gd name="T31" fmla="*/ 0 h 4598"/>
                <a:gd name="T32" fmla="*/ 30 w 1862"/>
                <a:gd name="T33" fmla="*/ 6 h 4598"/>
                <a:gd name="T34" fmla="*/ 15 w 1862"/>
                <a:gd name="T35" fmla="*/ 18 h 4598"/>
                <a:gd name="T36" fmla="*/ 4 w 1862"/>
                <a:gd name="T37" fmla="*/ 35 h 4598"/>
                <a:gd name="T38" fmla="*/ 0 w 1862"/>
                <a:gd name="T39" fmla="*/ 55 h 4598"/>
                <a:gd name="T40" fmla="*/ 0 w 1862"/>
                <a:gd name="T41" fmla="*/ 497 h 4598"/>
                <a:gd name="T42" fmla="*/ 129 w 1862"/>
                <a:gd name="T43" fmla="*/ 637 h 4598"/>
                <a:gd name="T44" fmla="*/ 129 w 1862"/>
                <a:gd name="T45" fmla="*/ 851 h 4598"/>
                <a:gd name="T46" fmla="*/ 98 w 1862"/>
                <a:gd name="T47" fmla="*/ 881 h 4598"/>
                <a:gd name="T48" fmla="*/ 357 w 1862"/>
                <a:gd name="T49" fmla="*/ 882 h 4598"/>
                <a:gd name="T50" fmla="*/ 325 w 1862"/>
                <a:gd name="T51" fmla="*/ 850 h 4598"/>
                <a:gd name="T52" fmla="*/ 325 w 1862"/>
                <a:gd name="T53" fmla="*/ 483 h 4598"/>
                <a:gd name="T54" fmla="*/ 150 w 1862"/>
                <a:gd name="T55" fmla="*/ 290 h 4598"/>
                <a:gd name="T56" fmla="*/ 136 w 1862"/>
                <a:gd name="T57" fmla="*/ 276 h 4598"/>
                <a:gd name="T58" fmla="*/ 127 w 1862"/>
                <a:gd name="T59" fmla="*/ 273 h 4598"/>
                <a:gd name="T60" fmla="*/ 117 w 1862"/>
                <a:gd name="T61" fmla="*/ 271 h 4598"/>
                <a:gd name="T62" fmla="*/ 102 w 1862"/>
                <a:gd name="T63" fmla="*/ 274 h 4598"/>
                <a:gd name="T64" fmla="*/ 90 w 1862"/>
                <a:gd name="T65" fmla="*/ 282 h 4598"/>
                <a:gd name="T66" fmla="*/ 82 w 1862"/>
                <a:gd name="T67" fmla="*/ 295 h 4598"/>
                <a:gd name="T68" fmla="*/ 79 w 1862"/>
                <a:gd name="T69" fmla="*/ 310 h 4598"/>
                <a:gd name="T70" fmla="*/ 81 w 1862"/>
                <a:gd name="T71" fmla="*/ 324 h 4598"/>
                <a:gd name="T72" fmla="*/ 88 w 1862"/>
                <a:gd name="T73" fmla="*/ 335 h 4598"/>
                <a:gd name="T74" fmla="*/ 88 w 1862"/>
                <a:gd name="T75" fmla="*/ 336 h 4598"/>
                <a:gd name="T76" fmla="*/ 201 w 1862"/>
                <a:gd name="T77" fmla="*/ 457 h 459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62" h="4598">
                  <a:moveTo>
                    <a:pt x="1047" y="2385"/>
                  </a:moveTo>
                  <a:lnTo>
                    <a:pt x="1003" y="2426"/>
                  </a:lnTo>
                  <a:lnTo>
                    <a:pt x="399" y="1767"/>
                  </a:lnTo>
                  <a:lnTo>
                    <a:pt x="362" y="1696"/>
                  </a:lnTo>
                  <a:lnTo>
                    <a:pt x="351" y="1615"/>
                  </a:lnTo>
                  <a:lnTo>
                    <a:pt x="361" y="1540"/>
                  </a:lnTo>
                  <a:lnTo>
                    <a:pt x="391" y="1475"/>
                  </a:lnTo>
                  <a:lnTo>
                    <a:pt x="437" y="1421"/>
                  </a:lnTo>
                  <a:lnTo>
                    <a:pt x="497" y="1382"/>
                  </a:lnTo>
                  <a:lnTo>
                    <a:pt x="497" y="286"/>
                  </a:lnTo>
                  <a:lnTo>
                    <a:pt x="490" y="207"/>
                  </a:lnTo>
                  <a:lnTo>
                    <a:pt x="474" y="141"/>
                  </a:lnTo>
                  <a:lnTo>
                    <a:pt x="449" y="89"/>
                  </a:lnTo>
                  <a:lnTo>
                    <a:pt x="418" y="50"/>
                  </a:lnTo>
                  <a:lnTo>
                    <a:pt x="339" y="4"/>
                  </a:lnTo>
                  <a:lnTo>
                    <a:pt x="247" y="0"/>
                  </a:lnTo>
                  <a:lnTo>
                    <a:pt x="156" y="31"/>
                  </a:lnTo>
                  <a:lnTo>
                    <a:pt x="77" y="93"/>
                  </a:lnTo>
                  <a:lnTo>
                    <a:pt x="20" y="180"/>
                  </a:lnTo>
                  <a:lnTo>
                    <a:pt x="0" y="286"/>
                  </a:lnTo>
                  <a:lnTo>
                    <a:pt x="0" y="2590"/>
                  </a:lnTo>
                  <a:lnTo>
                    <a:pt x="674" y="3320"/>
                  </a:lnTo>
                  <a:lnTo>
                    <a:pt x="674" y="4434"/>
                  </a:lnTo>
                  <a:lnTo>
                    <a:pt x="513" y="4595"/>
                  </a:lnTo>
                  <a:lnTo>
                    <a:pt x="1862" y="4598"/>
                  </a:lnTo>
                  <a:lnTo>
                    <a:pt x="1693" y="4431"/>
                  </a:lnTo>
                  <a:lnTo>
                    <a:pt x="1695" y="2517"/>
                  </a:lnTo>
                  <a:lnTo>
                    <a:pt x="780" y="1514"/>
                  </a:lnTo>
                  <a:lnTo>
                    <a:pt x="709" y="1441"/>
                  </a:lnTo>
                  <a:lnTo>
                    <a:pt x="663" y="1421"/>
                  </a:lnTo>
                  <a:lnTo>
                    <a:pt x="611" y="1414"/>
                  </a:lnTo>
                  <a:lnTo>
                    <a:pt x="533" y="1429"/>
                  </a:lnTo>
                  <a:lnTo>
                    <a:pt x="469" y="1472"/>
                  </a:lnTo>
                  <a:lnTo>
                    <a:pt x="426" y="1536"/>
                  </a:lnTo>
                  <a:lnTo>
                    <a:pt x="411" y="1615"/>
                  </a:lnTo>
                  <a:lnTo>
                    <a:pt x="423" y="1688"/>
                  </a:lnTo>
                  <a:lnTo>
                    <a:pt x="460" y="1749"/>
                  </a:lnTo>
                  <a:lnTo>
                    <a:pt x="458" y="1750"/>
                  </a:lnTo>
                  <a:lnTo>
                    <a:pt x="1047" y="238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PE"/>
            </a:p>
          </p:txBody>
        </p:sp>
        <p:sp>
          <p:nvSpPr>
            <p:cNvPr id="9" name="Freeform 11">
              <a:extLst>
                <a:ext uri="{FF2B5EF4-FFF2-40B4-BE49-F238E27FC236}">
                  <a16:creationId xmlns:a16="http://schemas.microsoft.com/office/drawing/2014/main" id="{40BECD3C-4AA8-4366-A888-CA86BE66CA35}"/>
                </a:ext>
              </a:extLst>
            </p:cNvPr>
            <p:cNvSpPr>
              <a:spLocks/>
            </p:cNvSpPr>
            <p:nvPr/>
          </p:nvSpPr>
          <p:spPr bwMode="auto">
            <a:xfrm>
              <a:off x="611" y="1371"/>
              <a:ext cx="357" cy="882"/>
            </a:xfrm>
            <a:custGeom>
              <a:avLst/>
              <a:gdLst>
                <a:gd name="T0" fmla="*/ 156 w 1860"/>
                <a:gd name="T1" fmla="*/ 457 h 4598"/>
                <a:gd name="T2" fmla="*/ 165 w 1860"/>
                <a:gd name="T3" fmla="*/ 465 h 4598"/>
                <a:gd name="T4" fmla="*/ 281 w 1860"/>
                <a:gd name="T5" fmla="*/ 339 h 4598"/>
                <a:gd name="T6" fmla="*/ 287 w 1860"/>
                <a:gd name="T7" fmla="*/ 325 h 4598"/>
                <a:gd name="T8" fmla="*/ 290 w 1860"/>
                <a:gd name="T9" fmla="*/ 310 h 4598"/>
                <a:gd name="T10" fmla="*/ 288 w 1860"/>
                <a:gd name="T11" fmla="*/ 295 h 4598"/>
                <a:gd name="T12" fmla="*/ 282 w 1860"/>
                <a:gd name="T13" fmla="*/ 283 h 4598"/>
                <a:gd name="T14" fmla="*/ 273 w 1860"/>
                <a:gd name="T15" fmla="*/ 273 h 4598"/>
                <a:gd name="T16" fmla="*/ 262 w 1860"/>
                <a:gd name="T17" fmla="*/ 265 h 4598"/>
                <a:gd name="T18" fmla="*/ 262 w 1860"/>
                <a:gd name="T19" fmla="*/ 55 h 4598"/>
                <a:gd name="T20" fmla="*/ 263 w 1860"/>
                <a:gd name="T21" fmla="*/ 40 h 4598"/>
                <a:gd name="T22" fmla="*/ 266 w 1860"/>
                <a:gd name="T23" fmla="*/ 27 h 4598"/>
                <a:gd name="T24" fmla="*/ 271 w 1860"/>
                <a:gd name="T25" fmla="*/ 17 h 4598"/>
                <a:gd name="T26" fmla="*/ 277 w 1860"/>
                <a:gd name="T27" fmla="*/ 10 h 4598"/>
                <a:gd name="T28" fmla="*/ 292 w 1860"/>
                <a:gd name="T29" fmla="*/ 1 h 4598"/>
                <a:gd name="T30" fmla="*/ 310 w 1860"/>
                <a:gd name="T31" fmla="*/ 0 h 4598"/>
                <a:gd name="T32" fmla="*/ 327 w 1860"/>
                <a:gd name="T33" fmla="*/ 6 h 4598"/>
                <a:gd name="T34" fmla="*/ 342 w 1860"/>
                <a:gd name="T35" fmla="*/ 18 h 4598"/>
                <a:gd name="T36" fmla="*/ 353 w 1860"/>
                <a:gd name="T37" fmla="*/ 35 h 4598"/>
                <a:gd name="T38" fmla="*/ 357 w 1860"/>
                <a:gd name="T39" fmla="*/ 55 h 4598"/>
                <a:gd name="T40" fmla="*/ 357 w 1860"/>
                <a:gd name="T41" fmla="*/ 497 h 4598"/>
                <a:gd name="T42" fmla="*/ 228 w 1860"/>
                <a:gd name="T43" fmla="*/ 637 h 4598"/>
                <a:gd name="T44" fmla="*/ 228 w 1860"/>
                <a:gd name="T45" fmla="*/ 851 h 4598"/>
                <a:gd name="T46" fmla="*/ 259 w 1860"/>
                <a:gd name="T47" fmla="*/ 881 h 4598"/>
                <a:gd name="T48" fmla="*/ 0 w 1860"/>
                <a:gd name="T49" fmla="*/ 882 h 4598"/>
                <a:gd name="T50" fmla="*/ 32 w 1860"/>
                <a:gd name="T51" fmla="*/ 850 h 4598"/>
                <a:gd name="T52" fmla="*/ 32 w 1860"/>
                <a:gd name="T53" fmla="*/ 483 h 4598"/>
                <a:gd name="T54" fmla="*/ 207 w 1860"/>
                <a:gd name="T55" fmla="*/ 290 h 4598"/>
                <a:gd name="T56" fmla="*/ 221 w 1860"/>
                <a:gd name="T57" fmla="*/ 276 h 4598"/>
                <a:gd name="T58" fmla="*/ 230 w 1860"/>
                <a:gd name="T59" fmla="*/ 273 h 4598"/>
                <a:gd name="T60" fmla="*/ 240 w 1860"/>
                <a:gd name="T61" fmla="*/ 271 h 4598"/>
                <a:gd name="T62" fmla="*/ 255 w 1860"/>
                <a:gd name="T63" fmla="*/ 274 h 4598"/>
                <a:gd name="T64" fmla="*/ 267 w 1860"/>
                <a:gd name="T65" fmla="*/ 282 h 4598"/>
                <a:gd name="T66" fmla="*/ 275 w 1860"/>
                <a:gd name="T67" fmla="*/ 295 h 4598"/>
                <a:gd name="T68" fmla="*/ 278 w 1860"/>
                <a:gd name="T69" fmla="*/ 310 h 4598"/>
                <a:gd name="T70" fmla="*/ 276 w 1860"/>
                <a:gd name="T71" fmla="*/ 324 h 4598"/>
                <a:gd name="T72" fmla="*/ 269 w 1860"/>
                <a:gd name="T73" fmla="*/ 335 h 4598"/>
                <a:gd name="T74" fmla="*/ 269 w 1860"/>
                <a:gd name="T75" fmla="*/ 336 h 4598"/>
                <a:gd name="T76" fmla="*/ 156 w 1860"/>
                <a:gd name="T77" fmla="*/ 457 h 459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860" h="4598">
                  <a:moveTo>
                    <a:pt x="814" y="2385"/>
                  </a:moveTo>
                  <a:lnTo>
                    <a:pt x="858" y="2426"/>
                  </a:lnTo>
                  <a:lnTo>
                    <a:pt x="1462" y="1767"/>
                  </a:lnTo>
                  <a:lnTo>
                    <a:pt x="1497" y="1696"/>
                  </a:lnTo>
                  <a:lnTo>
                    <a:pt x="1509" y="1615"/>
                  </a:lnTo>
                  <a:lnTo>
                    <a:pt x="1498" y="1540"/>
                  </a:lnTo>
                  <a:lnTo>
                    <a:pt x="1468" y="1475"/>
                  </a:lnTo>
                  <a:lnTo>
                    <a:pt x="1423" y="1421"/>
                  </a:lnTo>
                  <a:lnTo>
                    <a:pt x="1364" y="1382"/>
                  </a:lnTo>
                  <a:lnTo>
                    <a:pt x="1364" y="286"/>
                  </a:lnTo>
                  <a:lnTo>
                    <a:pt x="1369" y="207"/>
                  </a:lnTo>
                  <a:lnTo>
                    <a:pt x="1385" y="141"/>
                  </a:lnTo>
                  <a:lnTo>
                    <a:pt x="1410" y="89"/>
                  </a:lnTo>
                  <a:lnTo>
                    <a:pt x="1441" y="50"/>
                  </a:lnTo>
                  <a:lnTo>
                    <a:pt x="1521" y="4"/>
                  </a:lnTo>
                  <a:lnTo>
                    <a:pt x="1613" y="0"/>
                  </a:lnTo>
                  <a:lnTo>
                    <a:pt x="1703" y="31"/>
                  </a:lnTo>
                  <a:lnTo>
                    <a:pt x="1783" y="93"/>
                  </a:lnTo>
                  <a:lnTo>
                    <a:pt x="1839" y="180"/>
                  </a:lnTo>
                  <a:lnTo>
                    <a:pt x="1860" y="286"/>
                  </a:lnTo>
                  <a:lnTo>
                    <a:pt x="1860" y="2590"/>
                  </a:lnTo>
                  <a:lnTo>
                    <a:pt x="1186" y="3320"/>
                  </a:lnTo>
                  <a:lnTo>
                    <a:pt x="1186" y="4434"/>
                  </a:lnTo>
                  <a:lnTo>
                    <a:pt x="1348" y="4595"/>
                  </a:lnTo>
                  <a:lnTo>
                    <a:pt x="0" y="4598"/>
                  </a:lnTo>
                  <a:lnTo>
                    <a:pt x="167" y="4431"/>
                  </a:lnTo>
                  <a:lnTo>
                    <a:pt x="167" y="2517"/>
                  </a:lnTo>
                  <a:lnTo>
                    <a:pt x="1080" y="1514"/>
                  </a:lnTo>
                  <a:lnTo>
                    <a:pt x="1150" y="1441"/>
                  </a:lnTo>
                  <a:lnTo>
                    <a:pt x="1196" y="1421"/>
                  </a:lnTo>
                  <a:lnTo>
                    <a:pt x="1249" y="1414"/>
                  </a:lnTo>
                  <a:lnTo>
                    <a:pt x="1327" y="1429"/>
                  </a:lnTo>
                  <a:lnTo>
                    <a:pt x="1390" y="1472"/>
                  </a:lnTo>
                  <a:lnTo>
                    <a:pt x="1433" y="1536"/>
                  </a:lnTo>
                  <a:lnTo>
                    <a:pt x="1449" y="1615"/>
                  </a:lnTo>
                  <a:lnTo>
                    <a:pt x="1436" y="1688"/>
                  </a:lnTo>
                  <a:lnTo>
                    <a:pt x="1401" y="1749"/>
                  </a:lnTo>
                  <a:lnTo>
                    <a:pt x="1402" y="1750"/>
                  </a:lnTo>
                  <a:lnTo>
                    <a:pt x="814" y="238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PE"/>
            </a:p>
          </p:txBody>
        </p:sp>
        <p:sp>
          <p:nvSpPr>
            <p:cNvPr id="10" name="Freeform 12">
              <a:extLst>
                <a:ext uri="{FF2B5EF4-FFF2-40B4-BE49-F238E27FC236}">
                  <a16:creationId xmlns:a16="http://schemas.microsoft.com/office/drawing/2014/main" id="{D6DA5B94-9894-4507-A696-2D63FD667C8B}"/>
                </a:ext>
              </a:extLst>
            </p:cNvPr>
            <p:cNvSpPr>
              <a:spLocks/>
            </p:cNvSpPr>
            <p:nvPr/>
          </p:nvSpPr>
          <p:spPr bwMode="auto">
            <a:xfrm>
              <a:off x="572" y="1091"/>
              <a:ext cx="173" cy="174"/>
            </a:xfrm>
            <a:custGeom>
              <a:avLst/>
              <a:gdLst>
                <a:gd name="T0" fmla="*/ 0 w 906"/>
                <a:gd name="T1" fmla="*/ 87 h 908"/>
                <a:gd name="T2" fmla="*/ 2 w 906"/>
                <a:gd name="T3" fmla="*/ 104 h 908"/>
                <a:gd name="T4" fmla="*/ 7 w 906"/>
                <a:gd name="T5" fmla="*/ 121 h 908"/>
                <a:gd name="T6" fmla="*/ 15 w 906"/>
                <a:gd name="T7" fmla="*/ 135 h 908"/>
                <a:gd name="T8" fmla="*/ 25 w 906"/>
                <a:gd name="T9" fmla="*/ 149 h 908"/>
                <a:gd name="T10" fmla="*/ 38 w 906"/>
                <a:gd name="T11" fmla="*/ 159 h 908"/>
                <a:gd name="T12" fmla="*/ 53 w 906"/>
                <a:gd name="T13" fmla="*/ 167 h 908"/>
                <a:gd name="T14" fmla="*/ 69 w 906"/>
                <a:gd name="T15" fmla="*/ 172 h 908"/>
                <a:gd name="T16" fmla="*/ 87 w 906"/>
                <a:gd name="T17" fmla="*/ 174 h 908"/>
                <a:gd name="T18" fmla="*/ 104 w 906"/>
                <a:gd name="T19" fmla="*/ 172 h 908"/>
                <a:gd name="T20" fmla="*/ 120 w 906"/>
                <a:gd name="T21" fmla="*/ 167 h 908"/>
                <a:gd name="T22" fmla="*/ 135 w 906"/>
                <a:gd name="T23" fmla="*/ 159 h 908"/>
                <a:gd name="T24" fmla="*/ 147 w 906"/>
                <a:gd name="T25" fmla="*/ 149 h 908"/>
                <a:gd name="T26" fmla="*/ 158 w 906"/>
                <a:gd name="T27" fmla="*/ 135 h 908"/>
                <a:gd name="T28" fmla="*/ 166 w 906"/>
                <a:gd name="T29" fmla="*/ 121 h 908"/>
                <a:gd name="T30" fmla="*/ 171 w 906"/>
                <a:gd name="T31" fmla="*/ 104 h 908"/>
                <a:gd name="T32" fmla="*/ 173 w 906"/>
                <a:gd name="T33" fmla="*/ 87 h 908"/>
                <a:gd name="T34" fmla="*/ 171 w 906"/>
                <a:gd name="T35" fmla="*/ 70 h 908"/>
                <a:gd name="T36" fmla="*/ 166 w 906"/>
                <a:gd name="T37" fmla="*/ 53 h 908"/>
                <a:gd name="T38" fmla="*/ 158 w 906"/>
                <a:gd name="T39" fmla="*/ 39 h 908"/>
                <a:gd name="T40" fmla="*/ 147 w 906"/>
                <a:gd name="T41" fmla="*/ 25 h 908"/>
                <a:gd name="T42" fmla="*/ 135 w 906"/>
                <a:gd name="T43" fmla="*/ 15 h 908"/>
                <a:gd name="T44" fmla="*/ 120 w 906"/>
                <a:gd name="T45" fmla="*/ 7 h 908"/>
                <a:gd name="T46" fmla="*/ 104 w 906"/>
                <a:gd name="T47" fmla="*/ 2 h 908"/>
                <a:gd name="T48" fmla="*/ 87 w 906"/>
                <a:gd name="T49" fmla="*/ 0 h 908"/>
                <a:gd name="T50" fmla="*/ 69 w 906"/>
                <a:gd name="T51" fmla="*/ 2 h 908"/>
                <a:gd name="T52" fmla="*/ 53 w 906"/>
                <a:gd name="T53" fmla="*/ 7 h 908"/>
                <a:gd name="T54" fmla="*/ 38 w 906"/>
                <a:gd name="T55" fmla="*/ 15 h 908"/>
                <a:gd name="T56" fmla="*/ 25 w 906"/>
                <a:gd name="T57" fmla="*/ 25 h 908"/>
                <a:gd name="T58" fmla="*/ 15 w 906"/>
                <a:gd name="T59" fmla="*/ 39 h 908"/>
                <a:gd name="T60" fmla="*/ 7 w 906"/>
                <a:gd name="T61" fmla="*/ 53 h 908"/>
                <a:gd name="T62" fmla="*/ 2 w 906"/>
                <a:gd name="T63" fmla="*/ 70 h 908"/>
                <a:gd name="T64" fmla="*/ 0 w 906"/>
                <a:gd name="T65" fmla="*/ 87 h 908"/>
                <a:gd name="T66" fmla="*/ 147 w 906"/>
                <a:gd name="T67" fmla="*/ 72 h 908"/>
                <a:gd name="T68" fmla="*/ 126 w 906"/>
                <a:gd name="T69" fmla="*/ 73 h 908"/>
                <a:gd name="T70" fmla="*/ 124 w 906"/>
                <a:gd name="T71" fmla="*/ 63 h 908"/>
                <a:gd name="T72" fmla="*/ 119 w 906"/>
                <a:gd name="T73" fmla="*/ 55 h 908"/>
                <a:gd name="T74" fmla="*/ 111 w 906"/>
                <a:gd name="T75" fmla="*/ 48 h 908"/>
                <a:gd name="T76" fmla="*/ 101 w 906"/>
                <a:gd name="T77" fmla="*/ 46 h 908"/>
                <a:gd name="T78" fmla="*/ 101 w 906"/>
                <a:gd name="T79" fmla="*/ 22 h 908"/>
                <a:gd name="T80" fmla="*/ 118 w 906"/>
                <a:gd name="T81" fmla="*/ 26 h 908"/>
                <a:gd name="T82" fmla="*/ 132 w 906"/>
                <a:gd name="T83" fmla="*/ 36 h 908"/>
                <a:gd name="T84" fmla="*/ 142 w 906"/>
                <a:gd name="T85" fmla="*/ 52 h 908"/>
                <a:gd name="T86" fmla="*/ 147 w 906"/>
                <a:gd name="T87" fmla="*/ 72 h 908"/>
                <a:gd name="T88" fmla="*/ 0 w 906"/>
                <a:gd name="T89" fmla="*/ 87 h 90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906" h="908">
                  <a:moveTo>
                    <a:pt x="0" y="454"/>
                  </a:moveTo>
                  <a:lnTo>
                    <a:pt x="9" y="545"/>
                  </a:lnTo>
                  <a:lnTo>
                    <a:pt x="35" y="630"/>
                  </a:lnTo>
                  <a:lnTo>
                    <a:pt x="77" y="707"/>
                  </a:lnTo>
                  <a:lnTo>
                    <a:pt x="132" y="775"/>
                  </a:lnTo>
                  <a:lnTo>
                    <a:pt x="200" y="830"/>
                  </a:lnTo>
                  <a:lnTo>
                    <a:pt x="277" y="872"/>
                  </a:lnTo>
                  <a:lnTo>
                    <a:pt x="362" y="898"/>
                  </a:lnTo>
                  <a:lnTo>
                    <a:pt x="453" y="908"/>
                  </a:lnTo>
                  <a:lnTo>
                    <a:pt x="543" y="898"/>
                  </a:lnTo>
                  <a:lnTo>
                    <a:pt x="629" y="872"/>
                  </a:lnTo>
                  <a:lnTo>
                    <a:pt x="706" y="830"/>
                  </a:lnTo>
                  <a:lnTo>
                    <a:pt x="772" y="775"/>
                  </a:lnTo>
                  <a:lnTo>
                    <a:pt x="828" y="707"/>
                  </a:lnTo>
                  <a:lnTo>
                    <a:pt x="870" y="630"/>
                  </a:lnTo>
                  <a:lnTo>
                    <a:pt x="896" y="545"/>
                  </a:lnTo>
                  <a:lnTo>
                    <a:pt x="906" y="454"/>
                  </a:lnTo>
                  <a:lnTo>
                    <a:pt x="896" y="363"/>
                  </a:lnTo>
                  <a:lnTo>
                    <a:pt x="870" y="278"/>
                  </a:lnTo>
                  <a:lnTo>
                    <a:pt x="828" y="201"/>
                  </a:lnTo>
                  <a:lnTo>
                    <a:pt x="772" y="133"/>
                  </a:lnTo>
                  <a:lnTo>
                    <a:pt x="706" y="77"/>
                  </a:lnTo>
                  <a:lnTo>
                    <a:pt x="629" y="35"/>
                  </a:lnTo>
                  <a:lnTo>
                    <a:pt x="543" y="9"/>
                  </a:lnTo>
                  <a:lnTo>
                    <a:pt x="453" y="0"/>
                  </a:lnTo>
                  <a:lnTo>
                    <a:pt x="362" y="9"/>
                  </a:lnTo>
                  <a:lnTo>
                    <a:pt x="277" y="35"/>
                  </a:lnTo>
                  <a:lnTo>
                    <a:pt x="200" y="77"/>
                  </a:lnTo>
                  <a:lnTo>
                    <a:pt x="132" y="133"/>
                  </a:lnTo>
                  <a:lnTo>
                    <a:pt x="77" y="201"/>
                  </a:lnTo>
                  <a:lnTo>
                    <a:pt x="35" y="278"/>
                  </a:lnTo>
                  <a:lnTo>
                    <a:pt x="9" y="363"/>
                  </a:lnTo>
                  <a:lnTo>
                    <a:pt x="0" y="454"/>
                  </a:lnTo>
                  <a:lnTo>
                    <a:pt x="770" y="378"/>
                  </a:lnTo>
                  <a:lnTo>
                    <a:pt x="658" y="380"/>
                  </a:lnTo>
                  <a:lnTo>
                    <a:pt x="648" y="331"/>
                  </a:lnTo>
                  <a:lnTo>
                    <a:pt x="622" y="286"/>
                  </a:lnTo>
                  <a:lnTo>
                    <a:pt x="581" y="253"/>
                  </a:lnTo>
                  <a:lnTo>
                    <a:pt x="529" y="240"/>
                  </a:lnTo>
                  <a:lnTo>
                    <a:pt x="531" y="116"/>
                  </a:lnTo>
                  <a:lnTo>
                    <a:pt x="617" y="134"/>
                  </a:lnTo>
                  <a:lnTo>
                    <a:pt x="692" y="188"/>
                  </a:lnTo>
                  <a:lnTo>
                    <a:pt x="746" y="272"/>
                  </a:lnTo>
                  <a:lnTo>
                    <a:pt x="770" y="378"/>
                  </a:lnTo>
                  <a:lnTo>
                    <a:pt x="0" y="45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PE"/>
            </a:p>
          </p:txBody>
        </p:sp>
        <p:sp>
          <p:nvSpPr>
            <p:cNvPr id="11" name="Freeform 13">
              <a:extLst>
                <a:ext uri="{FF2B5EF4-FFF2-40B4-BE49-F238E27FC236}">
                  <a16:creationId xmlns:a16="http://schemas.microsoft.com/office/drawing/2014/main" id="{AAB04297-CA5C-4F81-8D82-A7AE92BE1A2F}"/>
                </a:ext>
              </a:extLst>
            </p:cNvPr>
            <p:cNvSpPr>
              <a:spLocks/>
            </p:cNvSpPr>
            <p:nvPr/>
          </p:nvSpPr>
          <p:spPr bwMode="auto">
            <a:xfrm>
              <a:off x="507" y="1167"/>
              <a:ext cx="152" cy="140"/>
            </a:xfrm>
            <a:custGeom>
              <a:avLst/>
              <a:gdLst>
                <a:gd name="T0" fmla="*/ 12 w 792"/>
                <a:gd name="T1" fmla="*/ 140 h 727"/>
                <a:gd name="T2" fmla="*/ 0 w 792"/>
                <a:gd name="T3" fmla="*/ 126 h 727"/>
                <a:gd name="T4" fmla="*/ 137 w 792"/>
                <a:gd name="T5" fmla="*/ 2 h 727"/>
                <a:gd name="T6" fmla="*/ 143 w 792"/>
                <a:gd name="T7" fmla="*/ 0 h 727"/>
                <a:gd name="T8" fmla="*/ 150 w 792"/>
                <a:gd name="T9" fmla="*/ 3 h 727"/>
                <a:gd name="T10" fmla="*/ 152 w 792"/>
                <a:gd name="T11" fmla="*/ 10 h 727"/>
                <a:gd name="T12" fmla="*/ 149 w 792"/>
                <a:gd name="T13" fmla="*/ 16 h 727"/>
                <a:gd name="T14" fmla="*/ 12 w 792"/>
                <a:gd name="T15" fmla="*/ 140 h 7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92" h="727">
                  <a:moveTo>
                    <a:pt x="65" y="727"/>
                  </a:moveTo>
                  <a:lnTo>
                    <a:pt x="0" y="654"/>
                  </a:lnTo>
                  <a:lnTo>
                    <a:pt x="712" y="12"/>
                  </a:lnTo>
                  <a:lnTo>
                    <a:pt x="747" y="0"/>
                  </a:lnTo>
                  <a:lnTo>
                    <a:pt x="779" y="17"/>
                  </a:lnTo>
                  <a:lnTo>
                    <a:pt x="792" y="50"/>
                  </a:lnTo>
                  <a:lnTo>
                    <a:pt x="778" y="85"/>
                  </a:lnTo>
                  <a:lnTo>
                    <a:pt x="65" y="7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PE"/>
            </a:p>
          </p:txBody>
        </p:sp>
        <p:sp>
          <p:nvSpPr>
            <p:cNvPr id="12" name="Freeform 14">
              <a:extLst>
                <a:ext uri="{FF2B5EF4-FFF2-40B4-BE49-F238E27FC236}">
                  <a16:creationId xmlns:a16="http://schemas.microsoft.com/office/drawing/2014/main" id="{C13B4C33-09CE-4B7A-814B-E300FC082B78}"/>
                </a:ext>
              </a:extLst>
            </p:cNvPr>
            <p:cNvSpPr>
              <a:spLocks/>
            </p:cNvSpPr>
            <p:nvPr/>
          </p:nvSpPr>
          <p:spPr bwMode="auto">
            <a:xfrm>
              <a:off x="507" y="1167"/>
              <a:ext cx="152" cy="140"/>
            </a:xfrm>
            <a:custGeom>
              <a:avLst/>
              <a:gdLst>
                <a:gd name="T0" fmla="*/ 12 w 792"/>
                <a:gd name="T1" fmla="*/ 140 h 727"/>
                <a:gd name="T2" fmla="*/ 0 w 792"/>
                <a:gd name="T3" fmla="*/ 126 h 727"/>
                <a:gd name="T4" fmla="*/ 137 w 792"/>
                <a:gd name="T5" fmla="*/ 2 h 727"/>
                <a:gd name="T6" fmla="*/ 143 w 792"/>
                <a:gd name="T7" fmla="*/ 0 h 727"/>
                <a:gd name="T8" fmla="*/ 150 w 792"/>
                <a:gd name="T9" fmla="*/ 3 h 727"/>
                <a:gd name="T10" fmla="*/ 152 w 792"/>
                <a:gd name="T11" fmla="*/ 10 h 727"/>
                <a:gd name="T12" fmla="*/ 149 w 792"/>
                <a:gd name="T13" fmla="*/ 16 h 727"/>
                <a:gd name="T14" fmla="*/ 12 w 792"/>
                <a:gd name="T15" fmla="*/ 140 h 727"/>
                <a:gd name="T16" fmla="*/ 12 w 792"/>
                <a:gd name="T17" fmla="*/ 140 h 7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92" h="727">
                  <a:moveTo>
                    <a:pt x="65" y="727"/>
                  </a:moveTo>
                  <a:lnTo>
                    <a:pt x="0" y="654"/>
                  </a:lnTo>
                  <a:lnTo>
                    <a:pt x="712" y="12"/>
                  </a:lnTo>
                  <a:lnTo>
                    <a:pt x="747" y="0"/>
                  </a:lnTo>
                  <a:lnTo>
                    <a:pt x="779" y="17"/>
                  </a:lnTo>
                  <a:lnTo>
                    <a:pt x="792" y="50"/>
                  </a:lnTo>
                  <a:lnTo>
                    <a:pt x="778" y="85"/>
                  </a:lnTo>
                  <a:lnTo>
                    <a:pt x="65" y="727"/>
                  </a:lnTo>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s-PE"/>
            </a:p>
          </p:txBody>
        </p:sp>
        <p:sp>
          <p:nvSpPr>
            <p:cNvPr id="13" name="Freeform 15">
              <a:extLst>
                <a:ext uri="{FF2B5EF4-FFF2-40B4-BE49-F238E27FC236}">
                  <a16:creationId xmlns:a16="http://schemas.microsoft.com/office/drawing/2014/main" id="{DB95BB19-5CC2-4595-8E35-3F37C31E0840}"/>
                </a:ext>
              </a:extLst>
            </p:cNvPr>
            <p:cNvSpPr>
              <a:spLocks/>
            </p:cNvSpPr>
            <p:nvPr/>
          </p:nvSpPr>
          <p:spPr bwMode="auto">
            <a:xfrm>
              <a:off x="383" y="1214"/>
              <a:ext cx="218" cy="219"/>
            </a:xfrm>
            <a:custGeom>
              <a:avLst/>
              <a:gdLst>
                <a:gd name="T0" fmla="*/ 109 w 1140"/>
                <a:gd name="T1" fmla="*/ 219 h 1143"/>
                <a:gd name="T2" fmla="*/ 87 w 1140"/>
                <a:gd name="T3" fmla="*/ 217 h 1143"/>
                <a:gd name="T4" fmla="*/ 67 w 1140"/>
                <a:gd name="T5" fmla="*/ 210 h 1143"/>
                <a:gd name="T6" fmla="*/ 48 w 1140"/>
                <a:gd name="T7" fmla="*/ 200 h 1143"/>
                <a:gd name="T8" fmla="*/ 32 w 1140"/>
                <a:gd name="T9" fmla="*/ 187 h 1143"/>
                <a:gd name="T10" fmla="*/ 19 w 1140"/>
                <a:gd name="T11" fmla="*/ 171 h 1143"/>
                <a:gd name="T12" fmla="*/ 8 w 1140"/>
                <a:gd name="T13" fmla="*/ 152 h 1143"/>
                <a:gd name="T14" fmla="*/ 2 w 1140"/>
                <a:gd name="T15" fmla="*/ 131 h 1143"/>
                <a:gd name="T16" fmla="*/ 0 w 1140"/>
                <a:gd name="T17" fmla="*/ 109 h 1143"/>
                <a:gd name="T18" fmla="*/ 2 w 1140"/>
                <a:gd name="T19" fmla="*/ 87 h 1143"/>
                <a:gd name="T20" fmla="*/ 8 w 1140"/>
                <a:gd name="T21" fmla="*/ 67 h 1143"/>
                <a:gd name="T22" fmla="*/ 19 w 1140"/>
                <a:gd name="T23" fmla="*/ 48 h 1143"/>
                <a:gd name="T24" fmla="*/ 32 w 1140"/>
                <a:gd name="T25" fmla="*/ 32 h 1143"/>
                <a:gd name="T26" fmla="*/ 48 w 1140"/>
                <a:gd name="T27" fmla="*/ 19 h 1143"/>
                <a:gd name="T28" fmla="*/ 67 w 1140"/>
                <a:gd name="T29" fmla="*/ 8 h 1143"/>
                <a:gd name="T30" fmla="*/ 87 w 1140"/>
                <a:gd name="T31" fmla="*/ 2 h 1143"/>
                <a:gd name="T32" fmla="*/ 109 w 1140"/>
                <a:gd name="T33" fmla="*/ 0 h 1143"/>
                <a:gd name="T34" fmla="*/ 131 w 1140"/>
                <a:gd name="T35" fmla="*/ 2 h 1143"/>
                <a:gd name="T36" fmla="*/ 151 w 1140"/>
                <a:gd name="T37" fmla="*/ 8 h 1143"/>
                <a:gd name="T38" fmla="*/ 170 w 1140"/>
                <a:gd name="T39" fmla="*/ 19 h 1143"/>
                <a:gd name="T40" fmla="*/ 186 w 1140"/>
                <a:gd name="T41" fmla="*/ 32 h 1143"/>
                <a:gd name="T42" fmla="*/ 199 w 1140"/>
                <a:gd name="T43" fmla="*/ 48 h 1143"/>
                <a:gd name="T44" fmla="*/ 209 w 1140"/>
                <a:gd name="T45" fmla="*/ 67 h 1143"/>
                <a:gd name="T46" fmla="*/ 216 w 1140"/>
                <a:gd name="T47" fmla="*/ 87 h 1143"/>
                <a:gd name="T48" fmla="*/ 218 w 1140"/>
                <a:gd name="T49" fmla="*/ 109 h 1143"/>
                <a:gd name="T50" fmla="*/ 216 w 1140"/>
                <a:gd name="T51" fmla="*/ 131 h 1143"/>
                <a:gd name="T52" fmla="*/ 209 w 1140"/>
                <a:gd name="T53" fmla="*/ 152 h 1143"/>
                <a:gd name="T54" fmla="*/ 199 w 1140"/>
                <a:gd name="T55" fmla="*/ 171 h 1143"/>
                <a:gd name="T56" fmla="*/ 186 w 1140"/>
                <a:gd name="T57" fmla="*/ 187 h 1143"/>
                <a:gd name="T58" fmla="*/ 170 w 1140"/>
                <a:gd name="T59" fmla="*/ 200 h 1143"/>
                <a:gd name="T60" fmla="*/ 151 w 1140"/>
                <a:gd name="T61" fmla="*/ 210 h 1143"/>
                <a:gd name="T62" fmla="*/ 131 w 1140"/>
                <a:gd name="T63" fmla="*/ 217 h 1143"/>
                <a:gd name="T64" fmla="*/ 109 w 1140"/>
                <a:gd name="T65" fmla="*/ 219 h 11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40" h="1143">
                  <a:moveTo>
                    <a:pt x="570" y="1143"/>
                  </a:moveTo>
                  <a:lnTo>
                    <a:pt x="455" y="1130"/>
                  </a:lnTo>
                  <a:lnTo>
                    <a:pt x="348" y="1097"/>
                  </a:lnTo>
                  <a:lnTo>
                    <a:pt x="251" y="1044"/>
                  </a:lnTo>
                  <a:lnTo>
                    <a:pt x="166" y="975"/>
                  </a:lnTo>
                  <a:lnTo>
                    <a:pt x="97" y="890"/>
                  </a:lnTo>
                  <a:lnTo>
                    <a:pt x="44" y="793"/>
                  </a:lnTo>
                  <a:lnTo>
                    <a:pt x="11" y="685"/>
                  </a:lnTo>
                  <a:lnTo>
                    <a:pt x="0" y="571"/>
                  </a:lnTo>
                  <a:lnTo>
                    <a:pt x="11" y="455"/>
                  </a:lnTo>
                  <a:lnTo>
                    <a:pt x="44" y="348"/>
                  </a:lnTo>
                  <a:lnTo>
                    <a:pt x="97" y="251"/>
                  </a:lnTo>
                  <a:lnTo>
                    <a:pt x="166" y="166"/>
                  </a:lnTo>
                  <a:lnTo>
                    <a:pt x="251" y="97"/>
                  </a:lnTo>
                  <a:lnTo>
                    <a:pt x="348" y="44"/>
                  </a:lnTo>
                  <a:lnTo>
                    <a:pt x="455" y="11"/>
                  </a:lnTo>
                  <a:lnTo>
                    <a:pt x="570" y="0"/>
                  </a:lnTo>
                  <a:lnTo>
                    <a:pt x="684" y="11"/>
                  </a:lnTo>
                  <a:lnTo>
                    <a:pt x="792" y="44"/>
                  </a:lnTo>
                  <a:lnTo>
                    <a:pt x="889" y="97"/>
                  </a:lnTo>
                  <a:lnTo>
                    <a:pt x="973" y="166"/>
                  </a:lnTo>
                  <a:lnTo>
                    <a:pt x="1042" y="251"/>
                  </a:lnTo>
                  <a:lnTo>
                    <a:pt x="1095" y="348"/>
                  </a:lnTo>
                  <a:lnTo>
                    <a:pt x="1128" y="455"/>
                  </a:lnTo>
                  <a:lnTo>
                    <a:pt x="1140" y="571"/>
                  </a:lnTo>
                  <a:lnTo>
                    <a:pt x="1128" y="685"/>
                  </a:lnTo>
                  <a:lnTo>
                    <a:pt x="1095" y="793"/>
                  </a:lnTo>
                  <a:lnTo>
                    <a:pt x="1042" y="890"/>
                  </a:lnTo>
                  <a:lnTo>
                    <a:pt x="973" y="975"/>
                  </a:lnTo>
                  <a:lnTo>
                    <a:pt x="889" y="1044"/>
                  </a:lnTo>
                  <a:lnTo>
                    <a:pt x="792" y="1097"/>
                  </a:lnTo>
                  <a:lnTo>
                    <a:pt x="684" y="1130"/>
                  </a:lnTo>
                  <a:lnTo>
                    <a:pt x="570" y="114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PE"/>
            </a:p>
          </p:txBody>
        </p:sp>
        <p:sp>
          <p:nvSpPr>
            <p:cNvPr id="14" name="Freeform 16">
              <a:extLst>
                <a:ext uri="{FF2B5EF4-FFF2-40B4-BE49-F238E27FC236}">
                  <a16:creationId xmlns:a16="http://schemas.microsoft.com/office/drawing/2014/main" id="{EAFC8624-AE69-4B5A-9977-28B6C3F44CA9}"/>
                </a:ext>
              </a:extLst>
            </p:cNvPr>
            <p:cNvSpPr>
              <a:spLocks/>
            </p:cNvSpPr>
            <p:nvPr/>
          </p:nvSpPr>
          <p:spPr bwMode="auto">
            <a:xfrm>
              <a:off x="520" y="1329"/>
              <a:ext cx="170" cy="115"/>
            </a:xfrm>
            <a:custGeom>
              <a:avLst/>
              <a:gdLst>
                <a:gd name="T0" fmla="*/ 170 w 886"/>
                <a:gd name="T1" fmla="*/ 99 h 598"/>
                <a:gd name="T2" fmla="*/ 160 w 886"/>
                <a:gd name="T3" fmla="*/ 115 h 598"/>
                <a:gd name="T4" fmla="*/ 4 w 886"/>
                <a:gd name="T5" fmla="*/ 17 h 598"/>
                <a:gd name="T6" fmla="*/ 0 w 886"/>
                <a:gd name="T7" fmla="*/ 11 h 598"/>
                <a:gd name="T8" fmla="*/ 2 w 886"/>
                <a:gd name="T9" fmla="*/ 4 h 598"/>
                <a:gd name="T10" fmla="*/ 7 w 886"/>
                <a:gd name="T11" fmla="*/ 0 h 598"/>
                <a:gd name="T12" fmla="*/ 14 w 886"/>
                <a:gd name="T13" fmla="*/ 1 h 598"/>
                <a:gd name="T14" fmla="*/ 170 w 886"/>
                <a:gd name="T15" fmla="*/ 99 h 59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86" h="598">
                  <a:moveTo>
                    <a:pt x="886" y="517"/>
                  </a:moveTo>
                  <a:lnTo>
                    <a:pt x="834" y="598"/>
                  </a:lnTo>
                  <a:lnTo>
                    <a:pt x="21" y="90"/>
                  </a:lnTo>
                  <a:lnTo>
                    <a:pt x="0" y="58"/>
                  </a:lnTo>
                  <a:lnTo>
                    <a:pt x="8" y="23"/>
                  </a:lnTo>
                  <a:lnTo>
                    <a:pt x="36" y="0"/>
                  </a:lnTo>
                  <a:lnTo>
                    <a:pt x="74" y="6"/>
                  </a:lnTo>
                  <a:lnTo>
                    <a:pt x="886" y="5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PE"/>
            </a:p>
          </p:txBody>
        </p:sp>
        <p:sp>
          <p:nvSpPr>
            <p:cNvPr id="15" name="Freeform 17">
              <a:extLst>
                <a:ext uri="{FF2B5EF4-FFF2-40B4-BE49-F238E27FC236}">
                  <a16:creationId xmlns:a16="http://schemas.microsoft.com/office/drawing/2014/main" id="{B040F473-E939-42C4-B356-DB54C2DC31A1}"/>
                </a:ext>
              </a:extLst>
            </p:cNvPr>
            <p:cNvSpPr>
              <a:spLocks/>
            </p:cNvSpPr>
            <p:nvPr/>
          </p:nvSpPr>
          <p:spPr bwMode="auto">
            <a:xfrm>
              <a:off x="520" y="1329"/>
              <a:ext cx="170" cy="115"/>
            </a:xfrm>
            <a:custGeom>
              <a:avLst/>
              <a:gdLst>
                <a:gd name="T0" fmla="*/ 170 w 886"/>
                <a:gd name="T1" fmla="*/ 99 h 598"/>
                <a:gd name="T2" fmla="*/ 160 w 886"/>
                <a:gd name="T3" fmla="*/ 115 h 598"/>
                <a:gd name="T4" fmla="*/ 4 w 886"/>
                <a:gd name="T5" fmla="*/ 17 h 598"/>
                <a:gd name="T6" fmla="*/ 0 w 886"/>
                <a:gd name="T7" fmla="*/ 11 h 598"/>
                <a:gd name="T8" fmla="*/ 2 w 886"/>
                <a:gd name="T9" fmla="*/ 4 h 598"/>
                <a:gd name="T10" fmla="*/ 7 w 886"/>
                <a:gd name="T11" fmla="*/ 0 h 598"/>
                <a:gd name="T12" fmla="*/ 14 w 886"/>
                <a:gd name="T13" fmla="*/ 1 h 598"/>
                <a:gd name="T14" fmla="*/ 170 w 886"/>
                <a:gd name="T15" fmla="*/ 99 h 598"/>
                <a:gd name="T16" fmla="*/ 170 w 886"/>
                <a:gd name="T17" fmla="*/ 99 h 5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86" h="598">
                  <a:moveTo>
                    <a:pt x="886" y="517"/>
                  </a:moveTo>
                  <a:lnTo>
                    <a:pt x="834" y="598"/>
                  </a:lnTo>
                  <a:lnTo>
                    <a:pt x="21" y="90"/>
                  </a:lnTo>
                  <a:lnTo>
                    <a:pt x="0" y="58"/>
                  </a:lnTo>
                  <a:lnTo>
                    <a:pt x="8" y="23"/>
                  </a:lnTo>
                  <a:lnTo>
                    <a:pt x="36" y="0"/>
                  </a:lnTo>
                  <a:lnTo>
                    <a:pt x="74" y="6"/>
                  </a:lnTo>
                  <a:lnTo>
                    <a:pt x="886" y="517"/>
                  </a:lnTo>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s-PE"/>
            </a:p>
          </p:txBody>
        </p:sp>
        <p:sp>
          <p:nvSpPr>
            <p:cNvPr id="16" name="Freeform 18">
              <a:extLst>
                <a:ext uri="{FF2B5EF4-FFF2-40B4-BE49-F238E27FC236}">
                  <a16:creationId xmlns:a16="http://schemas.microsoft.com/office/drawing/2014/main" id="{FB4F8D39-3C67-4850-9D41-DEE69F165A88}"/>
                </a:ext>
              </a:extLst>
            </p:cNvPr>
            <p:cNvSpPr>
              <a:spLocks/>
            </p:cNvSpPr>
            <p:nvPr/>
          </p:nvSpPr>
          <p:spPr bwMode="auto">
            <a:xfrm>
              <a:off x="595" y="1311"/>
              <a:ext cx="247" cy="247"/>
            </a:xfrm>
            <a:custGeom>
              <a:avLst/>
              <a:gdLst>
                <a:gd name="T0" fmla="*/ 123 w 1282"/>
                <a:gd name="T1" fmla="*/ 247 h 1287"/>
                <a:gd name="T2" fmla="*/ 98 w 1282"/>
                <a:gd name="T3" fmla="*/ 244 h 1287"/>
                <a:gd name="T4" fmla="*/ 75 w 1282"/>
                <a:gd name="T5" fmla="*/ 237 h 1287"/>
                <a:gd name="T6" fmla="*/ 55 w 1282"/>
                <a:gd name="T7" fmla="*/ 226 h 1287"/>
                <a:gd name="T8" fmla="*/ 36 w 1282"/>
                <a:gd name="T9" fmla="*/ 211 h 1287"/>
                <a:gd name="T10" fmla="*/ 21 w 1282"/>
                <a:gd name="T11" fmla="*/ 192 h 1287"/>
                <a:gd name="T12" fmla="*/ 10 w 1282"/>
                <a:gd name="T13" fmla="*/ 172 h 1287"/>
                <a:gd name="T14" fmla="*/ 3 w 1282"/>
                <a:gd name="T15" fmla="*/ 148 h 1287"/>
                <a:gd name="T16" fmla="*/ 0 w 1282"/>
                <a:gd name="T17" fmla="*/ 124 h 1287"/>
                <a:gd name="T18" fmla="*/ 3 w 1282"/>
                <a:gd name="T19" fmla="*/ 98 h 1287"/>
                <a:gd name="T20" fmla="*/ 10 w 1282"/>
                <a:gd name="T21" fmla="*/ 75 h 1287"/>
                <a:gd name="T22" fmla="*/ 21 w 1282"/>
                <a:gd name="T23" fmla="*/ 54 h 1287"/>
                <a:gd name="T24" fmla="*/ 36 w 1282"/>
                <a:gd name="T25" fmla="*/ 36 h 1287"/>
                <a:gd name="T26" fmla="*/ 55 w 1282"/>
                <a:gd name="T27" fmla="*/ 21 h 1287"/>
                <a:gd name="T28" fmla="*/ 75 w 1282"/>
                <a:gd name="T29" fmla="*/ 10 h 1287"/>
                <a:gd name="T30" fmla="*/ 98 w 1282"/>
                <a:gd name="T31" fmla="*/ 2 h 1287"/>
                <a:gd name="T32" fmla="*/ 123 w 1282"/>
                <a:gd name="T33" fmla="*/ 0 h 1287"/>
                <a:gd name="T34" fmla="*/ 148 w 1282"/>
                <a:gd name="T35" fmla="*/ 2 h 1287"/>
                <a:gd name="T36" fmla="*/ 171 w 1282"/>
                <a:gd name="T37" fmla="*/ 10 h 1287"/>
                <a:gd name="T38" fmla="*/ 192 w 1282"/>
                <a:gd name="T39" fmla="*/ 21 h 1287"/>
                <a:gd name="T40" fmla="*/ 211 w 1282"/>
                <a:gd name="T41" fmla="*/ 36 h 1287"/>
                <a:gd name="T42" fmla="*/ 226 w 1282"/>
                <a:gd name="T43" fmla="*/ 54 h 1287"/>
                <a:gd name="T44" fmla="*/ 237 w 1282"/>
                <a:gd name="T45" fmla="*/ 75 h 1287"/>
                <a:gd name="T46" fmla="*/ 244 w 1282"/>
                <a:gd name="T47" fmla="*/ 98 h 1287"/>
                <a:gd name="T48" fmla="*/ 247 w 1282"/>
                <a:gd name="T49" fmla="*/ 124 h 1287"/>
                <a:gd name="T50" fmla="*/ 244 w 1282"/>
                <a:gd name="T51" fmla="*/ 148 h 1287"/>
                <a:gd name="T52" fmla="*/ 237 w 1282"/>
                <a:gd name="T53" fmla="*/ 172 h 1287"/>
                <a:gd name="T54" fmla="*/ 226 w 1282"/>
                <a:gd name="T55" fmla="*/ 192 h 1287"/>
                <a:gd name="T56" fmla="*/ 211 w 1282"/>
                <a:gd name="T57" fmla="*/ 211 h 1287"/>
                <a:gd name="T58" fmla="*/ 192 w 1282"/>
                <a:gd name="T59" fmla="*/ 226 h 1287"/>
                <a:gd name="T60" fmla="*/ 171 w 1282"/>
                <a:gd name="T61" fmla="*/ 237 h 1287"/>
                <a:gd name="T62" fmla="*/ 148 w 1282"/>
                <a:gd name="T63" fmla="*/ 244 h 1287"/>
                <a:gd name="T64" fmla="*/ 123 w 1282"/>
                <a:gd name="T65" fmla="*/ 247 h 12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82" h="1287">
                  <a:moveTo>
                    <a:pt x="640" y="1287"/>
                  </a:moveTo>
                  <a:lnTo>
                    <a:pt x="511" y="1273"/>
                  </a:lnTo>
                  <a:lnTo>
                    <a:pt x="391" y="1236"/>
                  </a:lnTo>
                  <a:lnTo>
                    <a:pt x="283" y="1177"/>
                  </a:lnTo>
                  <a:lnTo>
                    <a:pt x="188" y="1098"/>
                  </a:lnTo>
                  <a:lnTo>
                    <a:pt x="109" y="1003"/>
                  </a:lnTo>
                  <a:lnTo>
                    <a:pt x="50" y="894"/>
                  </a:lnTo>
                  <a:lnTo>
                    <a:pt x="13" y="773"/>
                  </a:lnTo>
                  <a:lnTo>
                    <a:pt x="0" y="644"/>
                  </a:lnTo>
                  <a:lnTo>
                    <a:pt x="13" y="513"/>
                  </a:lnTo>
                  <a:lnTo>
                    <a:pt x="50" y="392"/>
                  </a:lnTo>
                  <a:lnTo>
                    <a:pt x="109" y="283"/>
                  </a:lnTo>
                  <a:lnTo>
                    <a:pt x="188" y="188"/>
                  </a:lnTo>
                  <a:lnTo>
                    <a:pt x="283" y="109"/>
                  </a:lnTo>
                  <a:lnTo>
                    <a:pt x="391" y="50"/>
                  </a:lnTo>
                  <a:lnTo>
                    <a:pt x="511" y="13"/>
                  </a:lnTo>
                  <a:lnTo>
                    <a:pt x="640" y="0"/>
                  </a:lnTo>
                  <a:lnTo>
                    <a:pt x="769" y="13"/>
                  </a:lnTo>
                  <a:lnTo>
                    <a:pt x="890" y="50"/>
                  </a:lnTo>
                  <a:lnTo>
                    <a:pt x="998" y="109"/>
                  </a:lnTo>
                  <a:lnTo>
                    <a:pt x="1093" y="188"/>
                  </a:lnTo>
                  <a:lnTo>
                    <a:pt x="1172" y="283"/>
                  </a:lnTo>
                  <a:lnTo>
                    <a:pt x="1231" y="392"/>
                  </a:lnTo>
                  <a:lnTo>
                    <a:pt x="1268" y="513"/>
                  </a:lnTo>
                  <a:lnTo>
                    <a:pt x="1282" y="644"/>
                  </a:lnTo>
                  <a:lnTo>
                    <a:pt x="1268" y="773"/>
                  </a:lnTo>
                  <a:lnTo>
                    <a:pt x="1231" y="894"/>
                  </a:lnTo>
                  <a:lnTo>
                    <a:pt x="1172" y="1003"/>
                  </a:lnTo>
                  <a:lnTo>
                    <a:pt x="1093" y="1098"/>
                  </a:lnTo>
                  <a:lnTo>
                    <a:pt x="998" y="1177"/>
                  </a:lnTo>
                  <a:lnTo>
                    <a:pt x="890" y="1236"/>
                  </a:lnTo>
                  <a:lnTo>
                    <a:pt x="769" y="1273"/>
                  </a:lnTo>
                  <a:lnTo>
                    <a:pt x="640" y="128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PE"/>
            </a:p>
          </p:txBody>
        </p:sp>
        <p:sp>
          <p:nvSpPr>
            <p:cNvPr id="17" name="Freeform 19">
              <a:extLst>
                <a:ext uri="{FF2B5EF4-FFF2-40B4-BE49-F238E27FC236}">
                  <a16:creationId xmlns:a16="http://schemas.microsoft.com/office/drawing/2014/main" id="{652DC35E-D311-4234-98E2-92E087BE5623}"/>
                </a:ext>
              </a:extLst>
            </p:cNvPr>
            <p:cNvSpPr>
              <a:spLocks/>
            </p:cNvSpPr>
            <p:nvPr/>
          </p:nvSpPr>
          <p:spPr bwMode="auto">
            <a:xfrm>
              <a:off x="552" y="1447"/>
              <a:ext cx="152" cy="139"/>
            </a:xfrm>
            <a:custGeom>
              <a:avLst/>
              <a:gdLst>
                <a:gd name="T0" fmla="*/ 12 w 792"/>
                <a:gd name="T1" fmla="*/ 139 h 728"/>
                <a:gd name="T2" fmla="*/ 0 w 792"/>
                <a:gd name="T3" fmla="*/ 125 h 728"/>
                <a:gd name="T4" fmla="*/ 137 w 792"/>
                <a:gd name="T5" fmla="*/ 2 h 728"/>
                <a:gd name="T6" fmla="*/ 143 w 792"/>
                <a:gd name="T7" fmla="*/ 0 h 728"/>
                <a:gd name="T8" fmla="*/ 150 w 792"/>
                <a:gd name="T9" fmla="*/ 3 h 728"/>
                <a:gd name="T10" fmla="*/ 152 w 792"/>
                <a:gd name="T11" fmla="*/ 10 h 728"/>
                <a:gd name="T12" fmla="*/ 149 w 792"/>
                <a:gd name="T13" fmla="*/ 16 h 728"/>
                <a:gd name="T14" fmla="*/ 12 w 792"/>
                <a:gd name="T15" fmla="*/ 139 h 7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92" h="728">
                  <a:moveTo>
                    <a:pt x="65" y="728"/>
                  </a:moveTo>
                  <a:lnTo>
                    <a:pt x="0" y="656"/>
                  </a:lnTo>
                  <a:lnTo>
                    <a:pt x="712" y="13"/>
                  </a:lnTo>
                  <a:lnTo>
                    <a:pt x="747" y="0"/>
                  </a:lnTo>
                  <a:lnTo>
                    <a:pt x="779" y="18"/>
                  </a:lnTo>
                  <a:lnTo>
                    <a:pt x="792" y="51"/>
                  </a:lnTo>
                  <a:lnTo>
                    <a:pt x="778" y="86"/>
                  </a:lnTo>
                  <a:lnTo>
                    <a:pt x="65" y="7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PE"/>
            </a:p>
          </p:txBody>
        </p:sp>
        <p:sp>
          <p:nvSpPr>
            <p:cNvPr id="18" name="Freeform 20">
              <a:extLst>
                <a:ext uri="{FF2B5EF4-FFF2-40B4-BE49-F238E27FC236}">
                  <a16:creationId xmlns:a16="http://schemas.microsoft.com/office/drawing/2014/main" id="{1BEB6922-5B44-4431-8940-933B78C65470}"/>
                </a:ext>
              </a:extLst>
            </p:cNvPr>
            <p:cNvSpPr>
              <a:spLocks/>
            </p:cNvSpPr>
            <p:nvPr/>
          </p:nvSpPr>
          <p:spPr bwMode="auto">
            <a:xfrm>
              <a:off x="552" y="1447"/>
              <a:ext cx="152" cy="139"/>
            </a:xfrm>
            <a:custGeom>
              <a:avLst/>
              <a:gdLst>
                <a:gd name="T0" fmla="*/ 12 w 792"/>
                <a:gd name="T1" fmla="*/ 139 h 728"/>
                <a:gd name="T2" fmla="*/ 0 w 792"/>
                <a:gd name="T3" fmla="*/ 125 h 728"/>
                <a:gd name="T4" fmla="*/ 137 w 792"/>
                <a:gd name="T5" fmla="*/ 2 h 728"/>
                <a:gd name="T6" fmla="*/ 143 w 792"/>
                <a:gd name="T7" fmla="*/ 0 h 728"/>
                <a:gd name="T8" fmla="*/ 150 w 792"/>
                <a:gd name="T9" fmla="*/ 3 h 728"/>
                <a:gd name="T10" fmla="*/ 152 w 792"/>
                <a:gd name="T11" fmla="*/ 10 h 728"/>
                <a:gd name="T12" fmla="*/ 149 w 792"/>
                <a:gd name="T13" fmla="*/ 16 h 728"/>
                <a:gd name="T14" fmla="*/ 12 w 792"/>
                <a:gd name="T15" fmla="*/ 139 h 728"/>
                <a:gd name="T16" fmla="*/ 12 w 792"/>
                <a:gd name="T17" fmla="*/ 139 h 7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92" h="728">
                  <a:moveTo>
                    <a:pt x="65" y="728"/>
                  </a:moveTo>
                  <a:lnTo>
                    <a:pt x="0" y="656"/>
                  </a:lnTo>
                  <a:lnTo>
                    <a:pt x="712" y="13"/>
                  </a:lnTo>
                  <a:lnTo>
                    <a:pt x="747" y="0"/>
                  </a:lnTo>
                  <a:lnTo>
                    <a:pt x="779" y="18"/>
                  </a:lnTo>
                  <a:lnTo>
                    <a:pt x="792" y="51"/>
                  </a:lnTo>
                  <a:lnTo>
                    <a:pt x="778" y="86"/>
                  </a:lnTo>
                  <a:lnTo>
                    <a:pt x="65" y="728"/>
                  </a:lnTo>
                </a:path>
              </a:pathLst>
            </a:custGeom>
            <a:noFill/>
            <a:ln w="1270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s-PE"/>
            </a:p>
          </p:txBody>
        </p:sp>
        <p:sp>
          <p:nvSpPr>
            <p:cNvPr id="19" name="Freeform 21">
              <a:extLst>
                <a:ext uri="{FF2B5EF4-FFF2-40B4-BE49-F238E27FC236}">
                  <a16:creationId xmlns:a16="http://schemas.microsoft.com/office/drawing/2014/main" id="{6C630C30-CF5A-44F6-830C-87197CF6772E}"/>
                </a:ext>
              </a:extLst>
            </p:cNvPr>
            <p:cNvSpPr>
              <a:spLocks/>
            </p:cNvSpPr>
            <p:nvPr/>
          </p:nvSpPr>
          <p:spPr bwMode="auto">
            <a:xfrm>
              <a:off x="369" y="1477"/>
              <a:ext cx="279" cy="280"/>
            </a:xfrm>
            <a:custGeom>
              <a:avLst/>
              <a:gdLst>
                <a:gd name="T0" fmla="*/ 140 w 1454"/>
                <a:gd name="T1" fmla="*/ 280 h 1459"/>
                <a:gd name="T2" fmla="*/ 111 w 1454"/>
                <a:gd name="T3" fmla="*/ 277 h 1459"/>
                <a:gd name="T4" fmla="*/ 85 w 1454"/>
                <a:gd name="T5" fmla="*/ 269 h 1459"/>
                <a:gd name="T6" fmla="*/ 61 w 1454"/>
                <a:gd name="T7" fmla="*/ 256 h 1459"/>
                <a:gd name="T8" fmla="*/ 41 w 1454"/>
                <a:gd name="T9" fmla="*/ 239 h 1459"/>
                <a:gd name="T10" fmla="*/ 24 w 1454"/>
                <a:gd name="T11" fmla="*/ 218 h 1459"/>
                <a:gd name="T12" fmla="*/ 11 w 1454"/>
                <a:gd name="T13" fmla="*/ 194 h 1459"/>
                <a:gd name="T14" fmla="*/ 3 w 1454"/>
                <a:gd name="T15" fmla="*/ 168 h 1459"/>
                <a:gd name="T16" fmla="*/ 0 w 1454"/>
                <a:gd name="T17" fmla="*/ 140 h 1459"/>
                <a:gd name="T18" fmla="*/ 3 w 1454"/>
                <a:gd name="T19" fmla="*/ 112 h 1459"/>
                <a:gd name="T20" fmla="*/ 11 w 1454"/>
                <a:gd name="T21" fmla="*/ 85 h 1459"/>
                <a:gd name="T22" fmla="*/ 24 w 1454"/>
                <a:gd name="T23" fmla="*/ 62 h 1459"/>
                <a:gd name="T24" fmla="*/ 41 w 1454"/>
                <a:gd name="T25" fmla="*/ 41 h 1459"/>
                <a:gd name="T26" fmla="*/ 61 w 1454"/>
                <a:gd name="T27" fmla="*/ 24 h 1459"/>
                <a:gd name="T28" fmla="*/ 85 w 1454"/>
                <a:gd name="T29" fmla="*/ 11 h 1459"/>
                <a:gd name="T30" fmla="*/ 111 w 1454"/>
                <a:gd name="T31" fmla="*/ 3 h 1459"/>
                <a:gd name="T32" fmla="*/ 140 w 1454"/>
                <a:gd name="T33" fmla="*/ 0 h 1459"/>
                <a:gd name="T34" fmla="*/ 168 w 1454"/>
                <a:gd name="T35" fmla="*/ 3 h 1459"/>
                <a:gd name="T36" fmla="*/ 194 w 1454"/>
                <a:gd name="T37" fmla="*/ 11 h 1459"/>
                <a:gd name="T38" fmla="*/ 217 w 1454"/>
                <a:gd name="T39" fmla="*/ 24 h 1459"/>
                <a:gd name="T40" fmla="*/ 238 w 1454"/>
                <a:gd name="T41" fmla="*/ 41 h 1459"/>
                <a:gd name="T42" fmla="*/ 255 w 1454"/>
                <a:gd name="T43" fmla="*/ 62 h 1459"/>
                <a:gd name="T44" fmla="*/ 268 w 1454"/>
                <a:gd name="T45" fmla="*/ 85 h 1459"/>
                <a:gd name="T46" fmla="*/ 276 w 1454"/>
                <a:gd name="T47" fmla="*/ 112 h 1459"/>
                <a:gd name="T48" fmla="*/ 279 w 1454"/>
                <a:gd name="T49" fmla="*/ 140 h 1459"/>
                <a:gd name="T50" fmla="*/ 276 w 1454"/>
                <a:gd name="T51" fmla="*/ 168 h 1459"/>
                <a:gd name="T52" fmla="*/ 268 w 1454"/>
                <a:gd name="T53" fmla="*/ 194 h 1459"/>
                <a:gd name="T54" fmla="*/ 255 w 1454"/>
                <a:gd name="T55" fmla="*/ 218 h 1459"/>
                <a:gd name="T56" fmla="*/ 238 w 1454"/>
                <a:gd name="T57" fmla="*/ 239 h 1459"/>
                <a:gd name="T58" fmla="*/ 217 w 1454"/>
                <a:gd name="T59" fmla="*/ 256 h 1459"/>
                <a:gd name="T60" fmla="*/ 194 w 1454"/>
                <a:gd name="T61" fmla="*/ 269 h 1459"/>
                <a:gd name="T62" fmla="*/ 168 w 1454"/>
                <a:gd name="T63" fmla="*/ 277 h 1459"/>
                <a:gd name="T64" fmla="*/ 140 w 1454"/>
                <a:gd name="T65" fmla="*/ 280 h 14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54" h="1459">
                  <a:moveTo>
                    <a:pt x="727" y="1459"/>
                  </a:moveTo>
                  <a:lnTo>
                    <a:pt x="580" y="1443"/>
                  </a:lnTo>
                  <a:lnTo>
                    <a:pt x="444" y="1401"/>
                  </a:lnTo>
                  <a:lnTo>
                    <a:pt x="319" y="1334"/>
                  </a:lnTo>
                  <a:lnTo>
                    <a:pt x="212" y="1245"/>
                  </a:lnTo>
                  <a:lnTo>
                    <a:pt x="123" y="1137"/>
                  </a:lnTo>
                  <a:lnTo>
                    <a:pt x="56" y="1013"/>
                  </a:lnTo>
                  <a:lnTo>
                    <a:pt x="15" y="876"/>
                  </a:lnTo>
                  <a:lnTo>
                    <a:pt x="0" y="730"/>
                  </a:lnTo>
                  <a:lnTo>
                    <a:pt x="15" y="582"/>
                  </a:lnTo>
                  <a:lnTo>
                    <a:pt x="56" y="445"/>
                  </a:lnTo>
                  <a:lnTo>
                    <a:pt x="123" y="321"/>
                  </a:lnTo>
                  <a:lnTo>
                    <a:pt x="212" y="213"/>
                  </a:lnTo>
                  <a:lnTo>
                    <a:pt x="319" y="124"/>
                  </a:lnTo>
                  <a:lnTo>
                    <a:pt x="444" y="57"/>
                  </a:lnTo>
                  <a:lnTo>
                    <a:pt x="580" y="15"/>
                  </a:lnTo>
                  <a:lnTo>
                    <a:pt x="727" y="0"/>
                  </a:lnTo>
                  <a:lnTo>
                    <a:pt x="873" y="15"/>
                  </a:lnTo>
                  <a:lnTo>
                    <a:pt x="1009" y="57"/>
                  </a:lnTo>
                  <a:lnTo>
                    <a:pt x="1133" y="124"/>
                  </a:lnTo>
                  <a:lnTo>
                    <a:pt x="1241" y="213"/>
                  </a:lnTo>
                  <a:lnTo>
                    <a:pt x="1330" y="321"/>
                  </a:lnTo>
                  <a:lnTo>
                    <a:pt x="1396" y="445"/>
                  </a:lnTo>
                  <a:lnTo>
                    <a:pt x="1438" y="582"/>
                  </a:lnTo>
                  <a:lnTo>
                    <a:pt x="1454" y="730"/>
                  </a:lnTo>
                  <a:lnTo>
                    <a:pt x="1438" y="876"/>
                  </a:lnTo>
                  <a:lnTo>
                    <a:pt x="1396" y="1013"/>
                  </a:lnTo>
                  <a:lnTo>
                    <a:pt x="1330" y="1137"/>
                  </a:lnTo>
                  <a:lnTo>
                    <a:pt x="1241" y="1245"/>
                  </a:lnTo>
                  <a:lnTo>
                    <a:pt x="1133" y="1334"/>
                  </a:lnTo>
                  <a:lnTo>
                    <a:pt x="1009" y="1401"/>
                  </a:lnTo>
                  <a:lnTo>
                    <a:pt x="873" y="1443"/>
                  </a:lnTo>
                  <a:lnTo>
                    <a:pt x="727" y="145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PE"/>
            </a:p>
          </p:txBody>
        </p:sp>
        <p:sp>
          <p:nvSpPr>
            <p:cNvPr id="20" name="Freeform 22">
              <a:extLst>
                <a:ext uri="{FF2B5EF4-FFF2-40B4-BE49-F238E27FC236}">
                  <a16:creationId xmlns:a16="http://schemas.microsoft.com/office/drawing/2014/main" id="{1B4CAA5F-7D99-4999-A8C8-8E85F3030E91}"/>
                </a:ext>
              </a:extLst>
            </p:cNvPr>
            <p:cNvSpPr>
              <a:spLocks/>
            </p:cNvSpPr>
            <p:nvPr/>
          </p:nvSpPr>
          <p:spPr bwMode="auto">
            <a:xfrm>
              <a:off x="527" y="1516"/>
              <a:ext cx="79" cy="78"/>
            </a:xfrm>
            <a:custGeom>
              <a:avLst/>
              <a:gdLst>
                <a:gd name="T0" fmla="*/ 79 w 410"/>
                <a:gd name="T1" fmla="*/ 78 h 408"/>
                <a:gd name="T2" fmla="*/ 43 w 410"/>
                <a:gd name="T3" fmla="*/ 78 h 408"/>
                <a:gd name="T4" fmla="*/ 39 w 410"/>
                <a:gd name="T5" fmla="*/ 64 h 408"/>
                <a:gd name="T6" fmla="*/ 31 w 410"/>
                <a:gd name="T7" fmla="*/ 50 h 408"/>
                <a:gd name="T8" fmla="*/ 17 w 410"/>
                <a:gd name="T9" fmla="*/ 41 h 408"/>
                <a:gd name="T10" fmla="*/ 0 w 410"/>
                <a:gd name="T11" fmla="*/ 37 h 408"/>
                <a:gd name="T12" fmla="*/ 1 w 410"/>
                <a:gd name="T13" fmla="*/ 0 h 408"/>
                <a:gd name="T14" fmla="*/ 15 w 410"/>
                <a:gd name="T15" fmla="*/ 1 h 408"/>
                <a:gd name="T16" fmla="*/ 29 w 410"/>
                <a:gd name="T17" fmla="*/ 6 h 408"/>
                <a:gd name="T18" fmla="*/ 42 w 410"/>
                <a:gd name="T19" fmla="*/ 12 h 408"/>
                <a:gd name="T20" fmla="*/ 54 w 410"/>
                <a:gd name="T21" fmla="*/ 22 h 408"/>
                <a:gd name="T22" fmla="*/ 64 w 410"/>
                <a:gd name="T23" fmla="*/ 33 h 408"/>
                <a:gd name="T24" fmla="*/ 71 w 410"/>
                <a:gd name="T25" fmla="*/ 46 h 408"/>
                <a:gd name="T26" fmla="*/ 77 w 410"/>
                <a:gd name="T27" fmla="*/ 61 h 408"/>
                <a:gd name="T28" fmla="*/ 79 w 410"/>
                <a:gd name="T29" fmla="*/ 78 h 4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10" h="408">
                  <a:moveTo>
                    <a:pt x="410" y="407"/>
                  </a:moveTo>
                  <a:lnTo>
                    <a:pt x="222" y="408"/>
                  </a:lnTo>
                  <a:lnTo>
                    <a:pt x="204" y="333"/>
                  </a:lnTo>
                  <a:lnTo>
                    <a:pt x="160" y="263"/>
                  </a:lnTo>
                  <a:lnTo>
                    <a:pt x="90" y="212"/>
                  </a:lnTo>
                  <a:lnTo>
                    <a:pt x="0" y="193"/>
                  </a:lnTo>
                  <a:lnTo>
                    <a:pt x="4" y="0"/>
                  </a:lnTo>
                  <a:lnTo>
                    <a:pt x="78" y="7"/>
                  </a:lnTo>
                  <a:lnTo>
                    <a:pt x="151" y="30"/>
                  </a:lnTo>
                  <a:lnTo>
                    <a:pt x="218" y="65"/>
                  </a:lnTo>
                  <a:lnTo>
                    <a:pt x="279" y="113"/>
                  </a:lnTo>
                  <a:lnTo>
                    <a:pt x="330" y="172"/>
                  </a:lnTo>
                  <a:lnTo>
                    <a:pt x="371" y="243"/>
                  </a:lnTo>
                  <a:lnTo>
                    <a:pt x="398" y="321"/>
                  </a:lnTo>
                  <a:lnTo>
                    <a:pt x="410" y="40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PE"/>
            </a:p>
          </p:txBody>
        </p:sp>
        <p:sp>
          <p:nvSpPr>
            <p:cNvPr id="21" name="Freeform 23">
              <a:extLst>
                <a:ext uri="{FF2B5EF4-FFF2-40B4-BE49-F238E27FC236}">
                  <a16:creationId xmlns:a16="http://schemas.microsoft.com/office/drawing/2014/main" id="{A96BA49E-ACF3-4428-A22C-3F166209C16A}"/>
                </a:ext>
              </a:extLst>
            </p:cNvPr>
            <p:cNvSpPr>
              <a:spLocks/>
            </p:cNvSpPr>
            <p:nvPr/>
          </p:nvSpPr>
          <p:spPr bwMode="auto">
            <a:xfrm>
              <a:off x="748" y="1348"/>
              <a:ext cx="52" cy="61"/>
            </a:xfrm>
            <a:custGeom>
              <a:avLst/>
              <a:gdLst>
                <a:gd name="T0" fmla="*/ 52 w 271"/>
                <a:gd name="T1" fmla="*/ 61 h 324"/>
                <a:gd name="T2" fmla="*/ 28 w 271"/>
                <a:gd name="T3" fmla="*/ 61 h 324"/>
                <a:gd name="T4" fmla="*/ 26 w 271"/>
                <a:gd name="T5" fmla="*/ 50 h 324"/>
                <a:gd name="T6" fmla="*/ 20 w 271"/>
                <a:gd name="T7" fmla="*/ 40 h 324"/>
                <a:gd name="T8" fmla="*/ 11 w 271"/>
                <a:gd name="T9" fmla="*/ 32 h 324"/>
                <a:gd name="T10" fmla="*/ 0 w 271"/>
                <a:gd name="T11" fmla="*/ 29 h 324"/>
                <a:gd name="T12" fmla="*/ 0 w 271"/>
                <a:gd name="T13" fmla="*/ 0 h 324"/>
                <a:gd name="T14" fmla="*/ 19 w 271"/>
                <a:gd name="T15" fmla="*/ 4 h 324"/>
                <a:gd name="T16" fmla="*/ 35 w 271"/>
                <a:gd name="T17" fmla="*/ 17 h 324"/>
                <a:gd name="T18" fmla="*/ 47 w 271"/>
                <a:gd name="T19" fmla="*/ 36 h 324"/>
                <a:gd name="T20" fmla="*/ 50 w 271"/>
                <a:gd name="T21" fmla="*/ 48 h 324"/>
                <a:gd name="T22" fmla="*/ 52 w 271"/>
                <a:gd name="T23" fmla="*/ 61 h 3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1" h="324">
                  <a:moveTo>
                    <a:pt x="271" y="323"/>
                  </a:moveTo>
                  <a:lnTo>
                    <a:pt x="145" y="324"/>
                  </a:lnTo>
                  <a:lnTo>
                    <a:pt x="134" y="264"/>
                  </a:lnTo>
                  <a:lnTo>
                    <a:pt x="105" y="210"/>
                  </a:lnTo>
                  <a:lnTo>
                    <a:pt x="58" y="169"/>
                  </a:lnTo>
                  <a:lnTo>
                    <a:pt x="0" y="153"/>
                  </a:lnTo>
                  <a:lnTo>
                    <a:pt x="1" y="0"/>
                  </a:lnTo>
                  <a:lnTo>
                    <a:pt x="99" y="23"/>
                  </a:lnTo>
                  <a:lnTo>
                    <a:pt x="184" y="90"/>
                  </a:lnTo>
                  <a:lnTo>
                    <a:pt x="245" y="193"/>
                  </a:lnTo>
                  <a:lnTo>
                    <a:pt x="262" y="255"/>
                  </a:lnTo>
                  <a:lnTo>
                    <a:pt x="271"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PE"/>
            </a:p>
          </p:txBody>
        </p:sp>
        <p:sp>
          <p:nvSpPr>
            <p:cNvPr id="22" name="Freeform 24">
              <a:extLst>
                <a:ext uri="{FF2B5EF4-FFF2-40B4-BE49-F238E27FC236}">
                  <a16:creationId xmlns:a16="http://schemas.microsoft.com/office/drawing/2014/main" id="{9F2DF3D1-0563-49AA-B626-53A0EA23887B}"/>
                </a:ext>
              </a:extLst>
            </p:cNvPr>
            <p:cNvSpPr>
              <a:spLocks/>
            </p:cNvSpPr>
            <p:nvPr/>
          </p:nvSpPr>
          <p:spPr bwMode="auto">
            <a:xfrm>
              <a:off x="509" y="1243"/>
              <a:ext cx="57" cy="55"/>
            </a:xfrm>
            <a:custGeom>
              <a:avLst/>
              <a:gdLst>
                <a:gd name="T0" fmla="*/ 57 w 291"/>
                <a:gd name="T1" fmla="*/ 55 h 290"/>
                <a:gd name="T2" fmla="*/ 31 w 291"/>
                <a:gd name="T3" fmla="*/ 55 h 290"/>
                <a:gd name="T4" fmla="*/ 28 w 291"/>
                <a:gd name="T5" fmla="*/ 45 h 290"/>
                <a:gd name="T6" fmla="*/ 22 w 291"/>
                <a:gd name="T7" fmla="*/ 35 h 290"/>
                <a:gd name="T8" fmla="*/ 12 w 291"/>
                <a:gd name="T9" fmla="*/ 28 h 290"/>
                <a:gd name="T10" fmla="*/ 0 w 291"/>
                <a:gd name="T11" fmla="*/ 26 h 290"/>
                <a:gd name="T12" fmla="*/ 0 w 291"/>
                <a:gd name="T13" fmla="*/ 0 h 290"/>
                <a:gd name="T14" fmla="*/ 21 w 291"/>
                <a:gd name="T15" fmla="*/ 4 h 290"/>
                <a:gd name="T16" fmla="*/ 39 w 291"/>
                <a:gd name="T17" fmla="*/ 15 h 290"/>
                <a:gd name="T18" fmla="*/ 52 w 291"/>
                <a:gd name="T19" fmla="*/ 33 h 290"/>
                <a:gd name="T20" fmla="*/ 55 w 291"/>
                <a:gd name="T21" fmla="*/ 43 h 290"/>
                <a:gd name="T22" fmla="*/ 57 w 291"/>
                <a:gd name="T23" fmla="*/ 55 h 2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91" h="290">
                  <a:moveTo>
                    <a:pt x="291" y="288"/>
                  </a:moveTo>
                  <a:lnTo>
                    <a:pt x="156" y="290"/>
                  </a:lnTo>
                  <a:lnTo>
                    <a:pt x="144" y="236"/>
                  </a:lnTo>
                  <a:lnTo>
                    <a:pt x="111" y="187"/>
                  </a:lnTo>
                  <a:lnTo>
                    <a:pt x="63" y="149"/>
                  </a:lnTo>
                  <a:lnTo>
                    <a:pt x="0" y="136"/>
                  </a:lnTo>
                  <a:lnTo>
                    <a:pt x="2" y="0"/>
                  </a:lnTo>
                  <a:lnTo>
                    <a:pt x="107" y="20"/>
                  </a:lnTo>
                  <a:lnTo>
                    <a:pt x="197" y="80"/>
                  </a:lnTo>
                  <a:lnTo>
                    <a:pt x="263" y="172"/>
                  </a:lnTo>
                  <a:lnTo>
                    <a:pt x="282" y="227"/>
                  </a:lnTo>
                  <a:lnTo>
                    <a:pt x="291" y="2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PE"/>
            </a:p>
          </p:txBody>
        </p:sp>
      </p:grpSp>
      <p:sp>
        <p:nvSpPr>
          <p:cNvPr id="23" name="Text Box 26">
            <a:extLst>
              <a:ext uri="{FF2B5EF4-FFF2-40B4-BE49-F238E27FC236}">
                <a16:creationId xmlns:a16="http://schemas.microsoft.com/office/drawing/2014/main" id="{E79854F5-6DDA-4779-B1CF-20B0AF080DC9}"/>
              </a:ext>
            </a:extLst>
          </p:cNvPr>
          <p:cNvSpPr txBox="1">
            <a:spLocks noChangeArrowheads="1"/>
          </p:cNvSpPr>
          <p:nvPr/>
        </p:nvSpPr>
        <p:spPr bwMode="auto">
          <a:xfrm>
            <a:off x="4331010" y="3094681"/>
            <a:ext cx="6948772" cy="3170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just" eaLnBrk="1" hangingPunct="1">
              <a:spcBef>
                <a:spcPct val="50000"/>
              </a:spcBef>
            </a:pPr>
            <a:r>
              <a:rPr lang="es-ES" sz="2400" dirty="0" err="1"/>
              <a:t>Responsible</a:t>
            </a:r>
            <a:r>
              <a:rPr lang="es-ES" sz="2400" dirty="0"/>
              <a:t> </a:t>
            </a:r>
            <a:r>
              <a:rPr lang="es-ES" sz="2400" dirty="0" err="1"/>
              <a:t>Care</a:t>
            </a:r>
            <a:r>
              <a:rPr lang="es-ES" sz="2400" dirty="0"/>
              <a:t> es una iniciativa global voluntaria de la industria química para impulsar la mejora continua y un desempeño con excelencia en los ámbitos de medio ambiente, la salud, la seguridad industrial  y patrimonial.</a:t>
            </a:r>
          </a:p>
          <a:p>
            <a:pPr algn="just" eaLnBrk="1" hangingPunct="1">
              <a:spcBef>
                <a:spcPct val="50000"/>
              </a:spcBef>
            </a:pPr>
            <a:r>
              <a:rPr lang="es-ES" dirty="0"/>
              <a:t> </a:t>
            </a:r>
            <a:br>
              <a:rPr lang="es-ES" dirty="0"/>
            </a:br>
            <a:endParaRPr lang="es-PE" dirty="0"/>
          </a:p>
          <a:p>
            <a:pPr algn="just" eaLnBrk="1" hangingPunct="1">
              <a:spcBef>
                <a:spcPct val="50000"/>
              </a:spcBef>
            </a:pPr>
            <a:endParaRPr lang="es-PE" dirty="0"/>
          </a:p>
        </p:txBody>
      </p:sp>
      <p:sp>
        <p:nvSpPr>
          <p:cNvPr id="24" name="Text Box 27">
            <a:extLst>
              <a:ext uri="{FF2B5EF4-FFF2-40B4-BE49-F238E27FC236}">
                <a16:creationId xmlns:a16="http://schemas.microsoft.com/office/drawing/2014/main" id="{7329883B-8ABE-43BB-877B-652CC76BFE92}"/>
              </a:ext>
            </a:extLst>
          </p:cNvPr>
          <p:cNvSpPr txBox="1">
            <a:spLocks noChangeArrowheads="1"/>
          </p:cNvSpPr>
          <p:nvPr/>
        </p:nvSpPr>
        <p:spPr bwMode="auto">
          <a:xfrm>
            <a:off x="1252737" y="4957068"/>
            <a:ext cx="1935743" cy="144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eaLnBrk="1" hangingPunct="1">
              <a:spcBef>
                <a:spcPct val="50000"/>
              </a:spcBef>
            </a:pPr>
            <a:r>
              <a:rPr lang="es-PE" sz="1600" b="1" dirty="0"/>
              <a:t>Creada 1985</a:t>
            </a:r>
          </a:p>
          <a:p>
            <a:pPr algn="ctr" eaLnBrk="1" hangingPunct="1">
              <a:spcBef>
                <a:spcPct val="50000"/>
              </a:spcBef>
            </a:pPr>
            <a:r>
              <a:rPr lang="es-MX" sz="1600" b="1" dirty="0"/>
              <a:t>Difundida 1987</a:t>
            </a:r>
            <a:endParaRPr lang="es-PE" sz="1600" b="1" dirty="0"/>
          </a:p>
          <a:p>
            <a:pPr algn="ctr" eaLnBrk="1" hangingPunct="1">
              <a:spcBef>
                <a:spcPct val="50000"/>
              </a:spcBef>
            </a:pPr>
            <a:r>
              <a:rPr lang="es-PE" sz="1600" b="1" dirty="0"/>
              <a:t>BASF 1992</a:t>
            </a:r>
          </a:p>
          <a:p>
            <a:pPr algn="ctr" eaLnBrk="1" hangingPunct="1">
              <a:spcBef>
                <a:spcPct val="50000"/>
              </a:spcBef>
            </a:pPr>
            <a:r>
              <a:rPr lang="es-PE" sz="1600" b="1" dirty="0"/>
              <a:t>Perú 1996</a:t>
            </a:r>
            <a:endParaRPr lang="es-ES" sz="1600" b="1" dirty="0"/>
          </a:p>
        </p:txBody>
      </p:sp>
    </p:spTree>
    <p:extLst>
      <p:ext uri="{BB962C8B-B14F-4D97-AF65-F5344CB8AC3E}">
        <p14:creationId xmlns:p14="http://schemas.microsoft.com/office/powerpoint/2010/main" val="627056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0D6C29F-7BCB-4CE9-919C-08FE049476FC}"/>
              </a:ext>
            </a:extLst>
          </p:cNvPr>
          <p:cNvSpPr>
            <a:spLocks noGrp="1"/>
          </p:cNvSpPr>
          <p:nvPr>
            <p:ph type="title"/>
          </p:nvPr>
        </p:nvSpPr>
        <p:spPr/>
        <p:txBody>
          <a:bodyPr/>
          <a:lstStyle/>
          <a:p>
            <a:r>
              <a:rPr lang="es-PE" dirty="0" err="1"/>
              <a:t>Responsible</a:t>
            </a:r>
            <a:r>
              <a:rPr lang="es-PE" dirty="0"/>
              <a:t> </a:t>
            </a:r>
            <a:r>
              <a:rPr lang="es-PE" dirty="0" err="1"/>
              <a:t>Care</a:t>
            </a:r>
            <a:r>
              <a:rPr lang="es-PE" dirty="0"/>
              <a:t>®</a:t>
            </a:r>
          </a:p>
        </p:txBody>
      </p:sp>
      <p:sp>
        <p:nvSpPr>
          <p:cNvPr id="4" name="Marcador de número de diapositiva 3">
            <a:extLst>
              <a:ext uri="{FF2B5EF4-FFF2-40B4-BE49-F238E27FC236}">
                <a16:creationId xmlns:a16="http://schemas.microsoft.com/office/drawing/2014/main" id="{4ECCCCC9-9D57-409E-A247-D9EEB38D4D6C}"/>
              </a:ext>
            </a:extLst>
          </p:cNvPr>
          <p:cNvSpPr>
            <a:spLocks noGrp="1"/>
          </p:cNvSpPr>
          <p:nvPr>
            <p:ph type="sldNum" sz="quarter" idx="10"/>
          </p:nvPr>
        </p:nvSpPr>
        <p:spPr/>
        <p:txBody>
          <a:bodyPr/>
          <a:lstStyle/>
          <a:p>
            <a:fld id="{9ED39FAB-3417-4E61-A69A-10C0CE33FFC4}" type="slidenum">
              <a:rPr lang="de-DE" smtClean="0"/>
              <a:pPr/>
              <a:t>12</a:t>
            </a:fld>
            <a:endParaRPr lang="de-DE"/>
          </a:p>
        </p:txBody>
      </p:sp>
      <p:pic>
        <p:nvPicPr>
          <p:cNvPr id="5" name="Imagen 4">
            <a:extLst>
              <a:ext uri="{FF2B5EF4-FFF2-40B4-BE49-F238E27FC236}">
                <a16:creationId xmlns:a16="http://schemas.microsoft.com/office/drawing/2014/main" id="{A62BF887-05F2-4DEE-8F5C-03566F563996}"/>
              </a:ext>
            </a:extLst>
          </p:cNvPr>
          <p:cNvPicPr>
            <a:picLocks noChangeAspect="1"/>
          </p:cNvPicPr>
          <p:nvPr/>
        </p:nvPicPr>
        <p:blipFill rotWithShape="1">
          <a:blip r:embed="rId2"/>
          <a:srcRect b="76203"/>
          <a:stretch/>
        </p:blipFill>
        <p:spPr>
          <a:xfrm>
            <a:off x="899010" y="1988840"/>
            <a:ext cx="5124188" cy="1761092"/>
          </a:xfrm>
          <a:prstGeom prst="rect">
            <a:avLst/>
          </a:prstGeom>
        </p:spPr>
      </p:pic>
      <p:pic>
        <p:nvPicPr>
          <p:cNvPr id="6" name="Imagen 5">
            <a:extLst>
              <a:ext uri="{FF2B5EF4-FFF2-40B4-BE49-F238E27FC236}">
                <a16:creationId xmlns:a16="http://schemas.microsoft.com/office/drawing/2014/main" id="{BF789F98-06DC-4080-9063-EC3FDE2F30C0}"/>
              </a:ext>
            </a:extLst>
          </p:cNvPr>
          <p:cNvPicPr>
            <a:picLocks noChangeAspect="1"/>
          </p:cNvPicPr>
          <p:nvPr/>
        </p:nvPicPr>
        <p:blipFill rotWithShape="1">
          <a:blip r:embed="rId2"/>
          <a:srcRect t="25424" b="50723"/>
          <a:stretch/>
        </p:blipFill>
        <p:spPr>
          <a:xfrm>
            <a:off x="6047582" y="1990721"/>
            <a:ext cx="5124188" cy="1765271"/>
          </a:xfrm>
          <a:prstGeom prst="rect">
            <a:avLst/>
          </a:prstGeom>
        </p:spPr>
      </p:pic>
      <p:pic>
        <p:nvPicPr>
          <p:cNvPr id="7" name="Imagen 6">
            <a:extLst>
              <a:ext uri="{FF2B5EF4-FFF2-40B4-BE49-F238E27FC236}">
                <a16:creationId xmlns:a16="http://schemas.microsoft.com/office/drawing/2014/main" id="{35765F80-ADB9-4E35-B62D-96FAB9EA90A1}"/>
              </a:ext>
            </a:extLst>
          </p:cNvPr>
          <p:cNvPicPr>
            <a:picLocks noChangeAspect="1"/>
          </p:cNvPicPr>
          <p:nvPr/>
        </p:nvPicPr>
        <p:blipFill rotWithShape="1">
          <a:blip r:embed="rId2"/>
          <a:srcRect t="50903" b="25424"/>
          <a:stretch/>
        </p:blipFill>
        <p:spPr>
          <a:xfrm>
            <a:off x="899010" y="3984404"/>
            <a:ext cx="5124188" cy="1751897"/>
          </a:xfrm>
          <a:prstGeom prst="rect">
            <a:avLst/>
          </a:prstGeom>
        </p:spPr>
      </p:pic>
      <p:pic>
        <p:nvPicPr>
          <p:cNvPr id="8" name="Imagen 7">
            <a:extLst>
              <a:ext uri="{FF2B5EF4-FFF2-40B4-BE49-F238E27FC236}">
                <a16:creationId xmlns:a16="http://schemas.microsoft.com/office/drawing/2014/main" id="{8E4D8A11-808E-403C-9865-E8BFC3EEA354}"/>
              </a:ext>
            </a:extLst>
          </p:cNvPr>
          <p:cNvPicPr>
            <a:picLocks noChangeAspect="1"/>
          </p:cNvPicPr>
          <p:nvPr/>
        </p:nvPicPr>
        <p:blipFill rotWithShape="1">
          <a:blip r:embed="rId2"/>
          <a:srcRect t="76384"/>
          <a:stretch/>
        </p:blipFill>
        <p:spPr>
          <a:xfrm>
            <a:off x="6047582" y="3986283"/>
            <a:ext cx="5124188" cy="1747717"/>
          </a:xfrm>
          <a:prstGeom prst="rect">
            <a:avLst/>
          </a:prstGeom>
        </p:spPr>
      </p:pic>
      <p:sp>
        <p:nvSpPr>
          <p:cNvPr id="9" name="Flecha: doblada hacia arriba 8">
            <a:extLst>
              <a:ext uri="{FF2B5EF4-FFF2-40B4-BE49-F238E27FC236}">
                <a16:creationId xmlns:a16="http://schemas.microsoft.com/office/drawing/2014/main" id="{19CDD634-F5A4-4188-8B23-B5FC4465D1FA}"/>
              </a:ext>
            </a:extLst>
          </p:cNvPr>
          <p:cNvSpPr/>
          <p:nvPr/>
        </p:nvSpPr>
        <p:spPr>
          <a:xfrm rot="5400000">
            <a:off x="3884100" y="5142330"/>
            <a:ext cx="749804" cy="1872208"/>
          </a:xfrm>
          <a:prstGeom prst="bentUpArrow">
            <a:avLst>
              <a:gd name="adj1" fmla="val 21053"/>
              <a:gd name="adj2" fmla="val 25000"/>
              <a:gd name="adj3"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 name="CuadroTexto 9">
            <a:extLst>
              <a:ext uri="{FF2B5EF4-FFF2-40B4-BE49-F238E27FC236}">
                <a16:creationId xmlns:a16="http://schemas.microsoft.com/office/drawing/2014/main" id="{0BEFD2D4-5D5D-41C0-A441-A2D7082EB24F}"/>
              </a:ext>
            </a:extLst>
          </p:cNvPr>
          <p:cNvSpPr txBox="1"/>
          <p:nvPr/>
        </p:nvSpPr>
        <p:spPr>
          <a:xfrm>
            <a:off x="5519142" y="6075168"/>
            <a:ext cx="5364596" cy="369332"/>
          </a:xfrm>
          <a:prstGeom prst="rect">
            <a:avLst/>
          </a:prstGeom>
          <a:noFill/>
        </p:spPr>
        <p:txBody>
          <a:bodyPr wrap="square" rtlCol="0">
            <a:spAutoFit/>
          </a:bodyPr>
          <a:lstStyle/>
          <a:p>
            <a:r>
              <a:rPr lang="es-PE" dirty="0"/>
              <a:t>Código que ayuda al cumplimiento del RETC </a:t>
            </a:r>
          </a:p>
        </p:txBody>
      </p:sp>
    </p:spTree>
    <p:extLst>
      <p:ext uri="{BB962C8B-B14F-4D97-AF65-F5344CB8AC3E}">
        <p14:creationId xmlns:p14="http://schemas.microsoft.com/office/powerpoint/2010/main" val="1689017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28371EC-5F96-4864-9658-C4D3CA71E654}"/>
              </a:ext>
            </a:extLst>
          </p:cNvPr>
          <p:cNvSpPr>
            <a:spLocks noGrp="1"/>
          </p:cNvSpPr>
          <p:nvPr>
            <p:ph type="title"/>
          </p:nvPr>
        </p:nvSpPr>
        <p:spPr>
          <a:xfrm>
            <a:off x="190550" y="339522"/>
            <a:ext cx="10153650" cy="853200"/>
          </a:xfrm>
        </p:spPr>
        <p:txBody>
          <a:bodyPr/>
          <a:lstStyle/>
          <a:p>
            <a:r>
              <a:rPr lang="es-PE" dirty="0"/>
              <a:t>Curso  </a:t>
            </a:r>
            <a:r>
              <a:rPr lang="es-PE" dirty="0" err="1"/>
              <a:t>Minam</a:t>
            </a:r>
            <a:r>
              <a:rPr lang="es-PE" dirty="0"/>
              <a:t> -  SNI</a:t>
            </a:r>
          </a:p>
        </p:txBody>
      </p:sp>
      <p:sp>
        <p:nvSpPr>
          <p:cNvPr id="4" name="Marcador de número de diapositiva 3">
            <a:extLst>
              <a:ext uri="{FF2B5EF4-FFF2-40B4-BE49-F238E27FC236}">
                <a16:creationId xmlns:a16="http://schemas.microsoft.com/office/drawing/2014/main" id="{49F2930F-E572-4BF4-869F-E16A70E020A7}"/>
              </a:ext>
            </a:extLst>
          </p:cNvPr>
          <p:cNvSpPr>
            <a:spLocks noGrp="1"/>
          </p:cNvSpPr>
          <p:nvPr>
            <p:ph type="sldNum" sz="quarter" idx="10"/>
          </p:nvPr>
        </p:nvSpPr>
        <p:spPr/>
        <p:txBody>
          <a:bodyPr/>
          <a:lstStyle/>
          <a:p>
            <a:fld id="{9ED39FAB-3417-4E61-A69A-10C0CE33FFC4}" type="slidenum">
              <a:rPr lang="de-DE" smtClean="0"/>
              <a:pPr/>
              <a:t>13</a:t>
            </a:fld>
            <a:endParaRPr lang="de-DE"/>
          </a:p>
        </p:txBody>
      </p:sp>
      <p:pic>
        <p:nvPicPr>
          <p:cNvPr id="6" name="Imagen 5">
            <a:extLst>
              <a:ext uri="{FF2B5EF4-FFF2-40B4-BE49-F238E27FC236}">
                <a16:creationId xmlns:a16="http://schemas.microsoft.com/office/drawing/2014/main" id="{17832E6B-3C16-4069-82D1-84452D31BCC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130" t="6896" r="8818" b="12069"/>
          <a:stretch/>
        </p:blipFill>
        <p:spPr>
          <a:xfrm>
            <a:off x="3659719" y="5169964"/>
            <a:ext cx="2466464" cy="1575174"/>
          </a:xfrm>
          <a:prstGeom prst="rect">
            <a:avLst/>
          </a:prstGeom>
        </p:spPr>
      </p:pic>
      <p:pic>
        <p:nvPicPr>
          <p:cNvPr id="8" name="Imagen 7">
            <a:extLst>
              <a:ext uri="{FF2B5EF4-FFF2-40B4-BE49-F238E27FC236}">
                <a16:creationId xmlns:a16="http://schemas.microsoft.com/office/drawing/2014/main" id="{275A3ADD-B266-4655-BDBB-7C24D95FA96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82" t="4254" r="9920" b="20800"/>
          <a:stretch/>
        </p:blipFill>
        <p:spPr>
          <a:xfrm>
            <a:off x="528633" y="5169964"/>
            <a:ext cx="2530834" cy="1584176"/>
          </a:xfrm>
          <a:prstGeom prst="rect">
            <a:avLst/>
          </a:prstGeom>
        </p:spPr>
      </p:pic>
      <p:pic>
        <p:nvPicPr>
          <p:cNvPr id="19" name="Imagen 18">
            <a:extLst>
              <a:ext uri="{FF2B5EF4-FFF2-40B4-BE49-F238E27FC236}">
                <a16:creationId xmlns:a16="http://schemas.microsoft.com/office/drawing/2014/main" id="{39E8401D-58AB-497B-806E-93B123CC380B}"/>
              </a:ext>
            </a:extLst>
          </p:cNvPr>
          <p:cNvPicPr>
            <a:picLocks noChangeAspect="1"/>
          </p:cNvPicPr>
          <p:nvPr/>
        </p:nvPicPr>
        <p:blipFill>
          <a:blip r:embed="rId4"/>
          <a:stretch>
            <a:fillRect/>
          </a:stretch>
        </p:blipFill>
        <p:spPr>
          <a:xfrm>
            <a:off x="514586" y="1736812"/>
            <a:ext cx="5627178" cy="3181960"/>
          </a:xfrm>
          <a:prstGeom prst="rect">
            <a:avLst/>
          </a:prstGeom>
        </p:spPr>
      </p:pic>
      <p:sp>
        <p:nvSpPr>
          <p:cNvPr id="20" name="CuadroTexto 19">
            <a:extLst>
              <a:ext uri="{FF2B5EF4-FFF2-40B4-BE49-F238E27FC236}">
                <a16:creationId xmlns:a16="http://schemas.microsoft.com/office/drawing/2014/main" id="{98E1A57F-BD37-4466-9FCF-A7E0F7A6C352}"/>
              </a:ext>
            </a:extLst>
          </p:cNvPr>
          <p:cNvSpPr txBox="1"/>
          <p:nvPr/>
        </p:nvSpPr>
        <p:spPr>
          <a:xfrm>
            <a:off x="7319342" y="2564904"/>
            <a:ext cx="4320480" cy="2862322"/>
          </a:xfrm>
          <a:prstGeom prst="rect">
            <a:avLst/>
          </a:prstGeom>
          <a:noFill/>
        </p:spPr>
        <p:txBody>
          <a:bodyPr wrap="square" rtlCol="0">
            <a:spAutoFit/>
          </a:bodyPr>
          <a:lstStyle/>
          <a:p>
            <a:r>
              <a:rPr lang="es-PE" dirty="0"/>
              <a:t>El curso se desarrolló el día 12 de Abril en donde se abordo.</a:t>
            </a:r>
          </a:p>
          <a:p>
            <a:endParaRPr lang="es-PE" dirty="0"/>
          </a:p>
          <a:p>
            <a:pPr marL="285750" indent="-285750">
              <a:buClr>
                <a:schemeClr val="accent4">
                  <a:lumMod val="75000"/>
                </a:schemeClr>
              </a:buClr>
              <a:buFont typeface="Wingdings" panose="05000000000000000000" pitchFamily="2" charset="2"/>
              <a:buChar char="ü"/>
            </a:pPr>
            <a:r>
              <a:rPr lang="es-PE" dirty="0"/>
              <a:t>Conceptos Básicos</a:t>
            </a:r>
          </a:p>
          <a:p>
            <a:pPr marL="285750" indent="-285750">
              <a:buClr>
                <a:schemeClr val="accent4">
                  <a:lumMod val="75000"/>
                </a:schemeClr>
              </a:buClr>
              <a:buFont typeface="Wingdings" panose="05000000000000000000" pitchFamily="2" charset="2"/>
              <a:buChar char="ü"/>
            </a:pPr>
            <a:endParaRPr lang="es-PE" dirty="0"/>
          </a:p>
          <a:p>
            <a:pPr marL="285750" indent="-285750">
              <a:buClr>
                <a:schemeClr val="accent4">
                  <a:lumMod val="75000"/>
                </a:schemeClr>
              </a:buClr>
              <a:buFont typeface="Wingdings" panose="05000000000000000000" pitchFamily="2" charset="2"/>
              <a:buChar char="ü"/>
            </a:pPr>
            <a:r>
              <a:rPr lang="es-PE" dirty="0"/>
              <a:t>Calculo de contaminantes</a:t>
            </a:r>
          </a:p>
          <a:p>
            <a:pPr marL="285750" indent="-285750">
              <a:buClr>
                <a:schemeClr val="accent4">
                  <a:lumMod val="75000"/>
                </a:schemeClr>
              </a:buClr>
              <a:buFont typeface="Wingdings" panose="05000000000000000000" pitchFamily="2" charset="2"/>
              <a:buChar char="ü"/>
            </a:pPr>
            <a:endParaRPr lang="es-PE" dirty="0"/>
          </a:p>
          <a:p>
            <a:pPr marL="285750" indent="-285750">
              <a:buClr>
                <a:schemeClr val="accent4">
                  <a:lumMod val="75000"/>
                </a:schemeClr>
              </a:buClr>
              <a:buFont typeface="Wingdings" panose="05000000000000000000" pitchFamily="2" charset="2"/>
              <a:buChar char="ü"/>
            </a:pPr>
            <a:r>
              <a:rPr lang="es-PE" dirty="0"/>
              <a:t>Herramientas de apoyo</a:t>
            </a:r>
          </a:p>
          <a:p>
            <a:pPr marL="285750" indent="-285750">
              <a:buClr>
                <a:schemeClr val="accent4">
                  <a:lumMod val="75000"/>
                </a:schemeClr>
              </a:buClr>
              <a:buFont typeface="Wingdings" panose="05000000000000000000" pitchFamily="2" charset="2"/>
              <a:buChar char="ü"/>
            </a:pPr>
            <a:endParaRPr lang="es-PE" dirty="0"/>
          </a:p>
          <a:p>
            <a:pPr marL="285750" indent="-285750">
              <a:buClr>
                <a:schemeClr val="accent4">
                  <a:lumMod val="75000"/>
                </a:schemeClr>
              </a:buClr>
              <a:buFont typeface="Wingdings" panose="05000000000000000000" pitchFamily="2" charset="2"/>
              <a:buChar char="ü"/>
            </a:pPr>
            <a:r>
              <a:rPr lang="es-PE" dirty="0"/>
              <a:t>Plataforma de Reporte</a:t>
            </a:r>
          </a:p>
        </p:txBody>
      </p:sp>
    </p:spTree>
    <p:extLst>
      <p:ext uri="{BB962C8B-B14F-4D97-AF65-F5344CB8AC3E}">
        <p14:creationId xmlns:p14="http://schemas.microsoft.com/office/powerpoint/2010/main" val="23203163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73B1E26-59F4-48D8-AED7-20362B2D8399}"/>
              </a:ext>
            </a:extLst>
          </p:cNvPr>
          <p:cNvSpPr>
            <a:spLocks noGrp="1"/>
          </p:cNvSpPr>
          <p:nvPr>
            <p:ph type="title"/>
          </p:nvPr>
        </p:nvSpPr>
        <p:spPr/>
        <p:txBody>
          <a:bodyPr/>
          <a:lstStyle/>
          <a:p>
            <a:r>
              <a:rPr lang="es-PE" dirty="0"/>
              <a:t>Reunión  Expertos  MINAM - BASF</a:t>
            </a:r>
          </a:p>
        </p:txBody>
      </p:sp>
      <p:sp>
        <p:nvSpPr>
          <p:cNvPr id="4" name="Marcador de número de diapositiva 3">
            <a:extLst>
              <a:ext uri="{FF2B5EF4-FFF2-40B4-BE49-F238E27FC236}">
                <a16:creationId xmlns:a16="http://schemas.microsoft.com/office/drawing/2014/main" id="{F2A73039-6F67-44A2-9C53-A9ED5FB970FE}"/>
              </a:ext>
            </a:extLst>
          </p:cNvPr>
          <p:cNvSpPr>
            <a:spLocks noGrp="1"/>
          </p:cNvSpPr>
          <p:nvPr>
            <p:ph type="sldNum" sz="quarter" idx="10"/>
          </p:nvPr>
        </p:nvSpPr>
        <p:spPr/>
        <p:txBody>
          <a:bodyPr/>
          <a:lstStyle/>
          <a:p>
            <a:fld id="{9ED39FAB-3417-4E61-A69A-10C0CE33FFC4}" type="slidenum">
              <a:rPr lang="de-DE" smtClean="0"/>
              <a:pPr/>
              <a:t>14</a:t>
            </a:fld>
            <a:endParaRPr lang="de-DE"/>
          </a:p>
        </p:txBody>
      </p:sp>
      <p:pic>
        <p:nvPicPr>
          <p:cNvPr id="5" name="Imagen 4">
            <a:extLst>
              <a:ext uri="{FF2B5EF4-FFF2-40B4-BE49-F238E27FC236}">
                <a16:creationId xmlns:a16="http://schemas.microsoft.com/office/drawing/2014/main" id="{07CD8CB9-3D10-420C-BBE5-00239CE8EB7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5528" y="2708920"/>
            <a:ext cx="3961809" cy="2971357"/>
          </a:xfrm>
          <a:prstGeom prst="rect">
            <a:avLst/>
          </a:prstGeom>
          <a:ln w="12700">
            <a:solidFill>
              <a:schemeClr val="tx1"/>
            </a:solidFill>
          </a:ln>
        </p:spPr>
      </p:pic>
      <p:pic>
        <p:nvPicPr>
          <p:cNvPr id="6" name="Imagen 5">
            <a:extLst>
              <a:ext uri="{FF2B5EF4-FFF2-40B4-BE49-F238E27FC236}">
                <a16:creationId xmlns:a16="http://schemas.microsoft.com/office/drawing/2014/main" id="{E4D8A360-C916-4248-901B-8D73340E069F}"/>
              </a:ext>
            </a:extLst>
          </p:cNvPr>
          <p:cNvPicPr>
            <a:picLocks noChangeAspect="1"/>
          </p:cNvPicPr>
          <p:nvPr/>
        </p:nvPicPr>
        <p:blipFill>
          <a:blip r:embed="rId3"/>
          <a:stretch>
            <a:fillRect/>
          </a:stretch>
        </p:blipFill>
        <p:spPr>
          <a:xfrm>
            <a:off x="5647031" y="1972672"/>
            <a:ext cx="2448272" cy="1843253"/>
          </a:xfrm>
          <a:prstGeom prst="rect">
            <a:avLst/>
          </a:prstGeom>
          <a:ln w="12700">
            <a:solidFill>
              <a:schemeClr val="tx1"/>
            </a:solidFill>
          </a:ln>
        </p:spPr>
      </p:pic>
      <p:pic>
        <p:nvPicPr>
          <p:cNvPr id="7" name="Imagen 6">
            <a:extLst>
              <a:ext uri="{FF2B5EF4-FFF2-40B4-BE49-F238E27FC236}">
                <a16:creationId xmlns:a16="http://schemas.microsoft.com/office/drawing/2014/main" id="{6AC63AD6-688C-43F4-A779-1E54F356A9B1}"/>
              </a:ext>
            </a:extLst>
          </p:cNvPr>
          <p:cNvPicPr>
            <a:picLocks noChangeAspect="1"/>
          </p:cNvPicPr>
          <p:nvPr/>
        </p:nvPicPr>
        <p:blipFill>
          <a:blip r:embed="rId4"/>
          <a:stretch>
            <a:fillRect/>
          </a:stretch>
        </p:blipFill>
        <p:spPr>
          <a:xfrm>
            <a:off x="9020228" y="1976302"/>
            <a:ext cx="2698845" cy="1839623"/>
          </a:xfrm>
          <a:prstGeom prst="rect">
            <a:avLst/>
          </a:prstGeom>
          <a:ln w="12700">
            <a:solidFill>
              <a:schemeClr val="tx1"/>
            </a:solidFill>
          </a:ln>
        </p:spPr>
      </p:pic>
      <p:pic>
        <p:nvPicPr>
          <p:cNvPr id="8" name="Imagen 7">
            <a:extLst>
              <a:ext uri="{FF2B5EF4-FFF2-40B4-BE49-F238E27FC236}">
                <a16:creationId xmlns:a16="http://schemas.microsoft.com/office/drawing/2014/main" id="{D6394274-25E3-46D5-80D1-3F709CBD86A4}"/>
              </a:ext>
            </a:extLst>
          </p:cNvPr>
          <p:cNvPicPr>
            <a:picLocks noChangeAspect="1"/>
          </p:cNvPicPr>
          <p:nvPr/>
        </p:nvPicPr>
        <p:blipFill>
          <a:blip r:embed="rId5"/>
          <a:stretch>
            <a:fillRect/>
          </a:stretch>
        </p:blipFill>
        <p:spPr>
          <a:xfrm>
            <a:off x="5647031" y="4581128"/>
            <a:ext cx="2448272" cy="1836204"/>
          </a:xfrm>
          <a:prstGeom prst="rect">
            <a:avLst/>
          </a:prstGeom>
          <a:ln w="12700">
            <a:solidFill>
              <a:schemeClr val="tx1"/>
            </a:solidFill>
          </a:ln>
        </p:spPr>
      </p:pic>
      <p:pic>
        <p:nvPicPr>
          <p:cNvPr id="9" name="Imagen 8">
            <a:extLst>
              <a:ext uri="{FF2B5EF4-FFF2-40B4-BE49-F238E27FC236}">
                <a16:creationId xmlns:a16="http://schemas.microsoft.com/office/drawing/2014/main" id="{A36424F0-8F9A-4B17-983D-302C9BD0DA14}"/>
              </a:ext>
            </a:extLst>
          </p:cNvPr>
          <p:cNvPicPr>
            <a:picLocks noChangeAspect="1"/>
          </p:cNvPicPr>
          <p:nvPr/>
        </p:nvPicPr>
        <p:blipFill>
          <a:blip r:embed="rId6"/>
          <a:stretch>
            <a:fillRect/>
          </a:stretch>
        </p:blipFill>
        <p:spPr>
          <a:xfrm>
            <a:off x="9054718" y="4581128"/>
            <a:ext cx="2629864" cy="1836204"/>
          </a:xfrm>
          <a:prstGeom prst="rect">
            <a:avLst/>
          </a:prstGeom>
          <a:ln w="12700">
            <a:solidFill>
              <a:schemeClr val="tx1"/>
            </a:solidFill>
          </a:ln>
        </p:spPr>
      </p:pic>
      <p:sp>
        <p:nvSpPr>
          <p:cNvPr id="10" name="Flecha: cuádruple 9">
            <a:extLst>
              <a:ext uri="{FF2B5EF4-FFF2-40B4-BE49-F238E27FC236}">
                <a16:creationId xmlns:a16="http://schemas.microsoft.com/office/drawing/2014/main" id="{A55213CC-03B9-4219-B16F-02CFF5CB9760}"/>
              </a:ext>
            </a:extLst>
          </p:cNvPr>
          <p:cNvSpPr/>
          <p:nvPr/>
        </p:nvSpPr>
        <p:spPr>
          <a:xfrm>
            <a:off x="7859402" y="3510522"/>
            <a:ext cx="1332148" cy="1394642"/>
          </a:xfrm>
          <a:prstGeom prst="quad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1" name="Signo menos 10">
            <a:extLst>
              <a:ext uri="{FF2B5EF4-FFF2-40B4-BE49-F238E27FC236}">
                <a16:creationId xmlns:a16="http://schemas.microsoft.com/office/drawing/2014/main" id="{52DB0CBC-4957-46AE-AC10-1D6906175B7A}"/>
              </a:ext>
            </a:extLst>
          </p:cNvPr>
          <p:cNvSpPr/>
          <p:nvPr/>
        </p:nvSpPr>
        <p:spPr>
          <a:xfrm rot="5400000">
            <a:off x="1932907" y="4235256"/>
            <a:ext cx="5672217" cy="204108"/>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Tree>
    <p:extLst>
      <p:ext uri="{BB962C8B-B14F-4D97-AF65-F5344CB8AC3E}">
        <p14:creationId xmlns:p14="http://schemas.microsoft.com/office/powerpoint/2010/main" val="11270694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0974510-D28B-4620-8932-934CCA9D583F}"/>
              </a:ext>
            </a:extLst>
          </p:cNvPr>
          <p:cNvSpPr>
            <a:spLocks noGrp="1"/>
          </p:cNvSpPr>
          <p:nvPr>
            <p:ph type="title"/>
          </p:nvPr>
        </p:nvSpPr>
        <p:spPr>
          <a:xfrm>
            <a:off x="190550" y="476672"/>
            <a:ext cx="10153650" cy="853200"/>
          </a:xfrm>
        </p:spPr>
        <p:txBody>
          <a:bodyPr/>
          <a:lstStyle/>
          <a:p>
            <a:r>
              <a:rPr lang="es-PE" dirty="0" err="1"/>
              <a:t>Annual</a:t>
            </a:r>
            <a:r>
              <a:rPr lang="es-PE" dirty="0"/>
              <a:t> </a:t>
            </a:r>
            <a:r>
              <a:rPr lang="es-PE" dirty="0" err="1"/>
              <a:t>Site</a:t>
            </a:r>
            <a:r>
              <a:rPr lang="es-PE" dirty="0"/>
              <a:t> </a:t>
            </a:r>
            <a:r>
              <a:rPr lang="es-PE" dirty="0" err="1"/>
              <a:t>Report</a:t>
            </a:r>
            <a:r>
              <a:rPr lang="es-PE" dirty="0"/>
              <a:t> </a:t>
            </a:r>
          </a:p>
        </p:txBody>
      </p:sp>
      <p:sp>
        <p:nvSpPr>
          <p:cNvPr id="4" name="Marcador de número de diapositiva 3">
            <a:extLst>
              <a:ext uri="{FF2B5EF4-FFF2-40B4-BE49-F238E27FC236}">
                <a16:creationId xmlns:a16="http://schemas.microsoft.com/office/drawing/2014/main" id="{E9B520B6-3F89-4227-B4D8-9D737295F1F1}"/>
              </a:ext>
            </a:extLst>
          </p:cNvPr>
          <p:cNvSpPr>
            <a:spLocks noGrp="1"/>
          </p:cNvSpPr>
          <p:nvPr>
            <p:ph type="sldNum" sz="quarter" idx="10"/>
          </p:nvPr>
        </p:nvSpPr>
        <p:spPr/>
        <p:txBody>
          <a:bodyPr/>
          <a:lstStyle/>
          <a:p>
            <a:fld id="{9ED39FAB-3417-4E61-A69A-10C0CE33FFC4}" type="slidenum">
              <a:rPr lang="de-DE" smtClean="0"/>
              <a:pPr/>
              <a:t>15</a:t>
            </a:fld>
            <a:endParaRPr lang="de-DE"/>
          </a:p>
        </p:txBody>
      </p:sp>
      <p:sp>
        <p:nvSpPr>
          <p:cNvPr id="5" name="CuadroTexto 4">
            <a:extLst>
              <a:ext uri="{FF2B5EF4-FFF2-40B4-BE49-F238E27FC236}">
                <a16:creationId xmlns:a16="http://schemas.microsoft.com/office/drawing/2014/main" id="{A4566E82-F827-4B3D-8F56-422BB2773979}"/>
              </a:ext>
            </a:extLst>
          </p:cNvPr>
          <p:cNvSpPr txBox="1"/>
          <p:nvPr/>
        </p:nvSpPr>
        <p:spPr>
          <a:xfrm>
            <a:off x="694606" y="2673248"/>
            <a:ext cx="4763082" cy="1754326"/>
          </a:xfrm>
          <a:prstGeom prst="rect">
            <a:avLst/>
          </a:prstGeom>
          <a:noFill/>
        </p:spPr>
        <p:txBody>
          <a:bodyPr wrap="square" rtlCol="0">
            <a:spAutoFit/>
          </a:bodyPr>
          <a:lstStyle/>
          <a:p>
            <a:r>
              <a:rPr lang="es-PE" dirty="0"/>
              <a:t>Reporte que se genera por cada </a:t>
            </a:r>
            <a:r>
              <a:rPr lang="es-PE" dirty="0" err="1"/>
              <a:t>site</a:t>
            </a:r>
            <a:r>
              <a:rPr lang="es-PE" dirty="0"/>
              <a:t> productivo de  BASF, con la finalidad de cuantificar mediante una metodología aprobada todos los aspectos ambientales que se puedan generar por parte del proceso productivo.</a:t>
            </a:r>
          </a:p>
        </p:txBody>
      </p:sp>
      <p:pic>
        <p:nvPicPr>
          <p:cNvPr id="8" name="Imagen 7">
            <a:extLst>
              <a:ext uri="{FF2B5EF4-FFF2-40B4-BE49-F238E27FC236}">
                <a16:creationId xmlns:a16="http://schemas.microsoft.com/office/drawing/2014/main" id="{E00C51DD-BF55-46CA-8460-02BF4051AA02}"/>
              </a:ext>
            </a:extLst>
          </p:cNvPr>
          <p:cNvPicPr>
            <a:picLocks noChangeAspect="1"/>
          </p:cNvPicPr>
          <p:nvPr/>
        </p:nvPicPr>
        <p:blipFill>
          <a:blip r:embed="rId2"/>
          <a:stretch>
            <a:fillRect/>
          </a:stretch>
        </p:blipFill>
        <p:spPr>
          <a:xfrm>
            <a:off x="7751390" y="2835674"/>
            <a:ext cx="3955617" cy="2653158"/>
          </a:xfrm>
          <a:prstGeom prst="rect">
            <a:avLst/>
          </a:prstGeom>
          <a:ln w="12700">
            <a:solidFill>
              <a:schemeClr val="tx1"/>
            </a:solidFill>
          </a:ln>
        </p:spPr>
      </p:pic>
      <p:sp>
        <p:nvSpPr>
          <p:cNvPr id="9" name="Signo menos 8">
            <a:extLst>
              <a:ext uri="{FF2B5EF4-FFF2-40B4-BE49-F238E27FC236}">
                <a16:creationId xmlns:a16="http://schemas.microsoft.com/office/drawing/2014/main" id="{218C59A3-C573-4891-8708-2C21644F31B1}"/>
              </a:ext>
            </a:extLst>
          </p:cNvPr>
          <p:cNvSpPr/>
          <p:nvPr/>
        </p:nvSpPr>
        <p:spPr>
          <a:xfrm>
            <a:off x="-529530" y="5945615"/>
            <a:ext cx="6792815" cy="108012"/>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10" name="Signo menos 9">
            <a:extLst>
              <a:ext uri="{FF2B5EF4-FFF2-40B4-BE49-F238E27FC236}">
                <a16:creationId xmlns:a16="http://schemas.microsoft.com/office/drawing/2014/main" id="{02D061C0-F6D6-46A7-B8A7-588C14FA04E1}"/>
              </a:ext>
            </a:extLst>
          </p:cNvPr>
          <p:cNvSpPr/>
          <p:nvPr/>
        </p:nvSpPr>
        <p:spPr>
          <a:xfrm>
            <a:off x="-550904" y="2205615"/>
            <a:ext cx="6792815" cy="108012"/>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pic>
        <p:nvPicPr>
          <p:cNvPr id="11" name="Imagen 10">
            <a:extLst>
              <a:ext uri="{FF2B5EF4-FFF2-40B4-BE49-F238E27FC236}">
                <a16:creationId xmlns:a16="http://schemas.microsoft.com/office/drawing/2014/main" id="{B679BEF4-A726-440C-A873-0EA2025526BA}"/>
              </a:ext>
            </a:extLst>
          </p:cNvPr>
          <p:cNvPicPr>
            <a:picLocks noChangeAspect="1"/>
          </p:cNvPicPr>
          <p:nvPr/>
        </p:nvPicPr>
        <p:blipFill>
          <a:blip r:embed="rId3"/>
          <a:stretch>
            <a:fillRect/>
          </a:stretch>
        </p:blipFill>
        <p:spPr>
          <a:xfrm>
            <a:off x="2314786" y="4689472"/>
            <a:ext cx="1061437" cy="1048251"/>
          </a:xfrm>
          <a:prstGeom prst="rect">
            <a:avLst/>
          </a:prstGeom>
        </p:spPr>
      </p:pic>
      <p:pic>
        <p:nvPicPr>
          <p:cNvPr id="18" name="Imagen 17">
            <a:extLst>
              <a:ext uri="{FF2B5EF4-FFF2-40B4-BE49-F238E27FC236}">
                <a16:creationId xmlns:a16="http://schemas.microsoft.com/office/drawing/2014/main" id="{AEF8B1AE-3F94-4F8B-BB17-E21AB1CA43B1}"/>
              </a:ext>
            </a:extLst>
          </p:cNvPr>
          <p:cNvPicPr>
            <a:picLocks noChangeAspect="1"/>
          </p:cNvPicPr>
          <p:nvPr/>
        </p:nvPicPr>
        <p:blipFill>
          <a:blip r:embed="rId4"/>
          <a:stretch>
            <a:fillRect/>
          </a:stretch>
        </p:blipFill>
        <p:spPr>
          <a:xfrm>
            <a:off x="6298368" y="2096852"/>
            <a:ext cx="725711" cy="943870"/>
          </a:xfrm>
          <a:prstGeom prst="rect">
            <a:avLst/>
          </a:prstGeom>
        </p:spPr>
      </p:pic>
      <p:pic>
        <p:nvPicPr>
          <p:cNvPr id="19" name="Imagen 18">
            <a:extLst>
              <a:ext uri="{FF2B5EF4-FFF2-40B4-BE49-F238E27FC236}">
                <a16:creationId xmlns:a16="http://schemas.microsoft.com/office/drawing/2014/main" id="{C4B9BBDA-B105-449A-B998-4669D2D02CDF}"/>
              </a:ext>
            </a:extLst>
          </p:cNvPr>
          <p:cNvPicPr>
            <a:picLocks noChangeAspect="1"/>
          </p:cNvPicPr>
          <p:nvPr/>
        </p:nvPicPr>
        <p:blipFill>
          <a:blip r:embed="rId5"/>
          <a:stretch>
            <a:fillRect/>
          </a:stretch>
        </p:blipFill>
        <p:spPr>
          <a:xfrm>
            <a:off x="6325740" y="3746724"/>
            <a:ext cx="653947" cy="831058"/>
          </a:xfrm>
          <a:prstGeom prst="rect">
            <a:avLst/>
          </a:prstGeom>
        </p:spPr>
      </p:pic>
      <p:pic>
        <p:nvPicPr>
          <p:cNvPr id="20" name="Imagen 19">
            <a:extLst>
              <a:ext uri="{FF2B5EF4-FFF2-40B4-BE49-F238E27FC236}">
                <a16:creationId xmlns:a16="http://schemas.microsoft.com/office/drawing/2014/main" id="{654E527C-4BBD-4833-BFE2-716F49B6813D}"/>
              </a:ext>
            </a:extLst>
          </p:cNvPr>
          <p:cNvPicPr>
            <a:picLocks noChangeAspect="1"/>
          </p:cNvPicPr>
          <p:nvPr/>
        </p:nvPicPr>
        <p:blipFill>
          <a:blip r:embed="rId6"/>
          <a:stretch>
            <a:fillRect/>
          </a:stretch>
        </p:blipFill>
        <p:spPr>
          <a:xfrm>
            <a:off x="6335034" y="5287778"/>
            <a:ext cx="725341" cy="907877"/>
          </a:xfrm>
          <a:prstGeom prst="rect">
            <a:avLst/>
          </a:prstGeom>
        </p:spPr>
      </p:pic>
    </p:spTree>
    <p:extLst>
      <p:ext uri="{BB962C8B-B14F-4D97-AF65-F5344CB8AC3E}">
        <p14:creationId xmlns:p14="http://schemas.microsoft.com/office/powerpoint/2010/main" val="37709468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CE25624-0774-426E-99F2-96CFE6046088}"/>
              </a:ext>
            </a:extLst>
          </p:cNvPr>
          <p:cNvSpPr>
            <a:spLocks noGrp="1"/>
          </p:cNvSpPr>
          <p:nvPr>
            <p:ph type="title"/>
          </p:nvPr>
        </p:nvSpPr>
        <p:spPr/>
        <p:txBody>
          <a:bodyPr/>
          <a:lstStyle/>
          <a:p>
            <a:r>
              <a:rPr lang="es-PE" dirty="0"/>
              <a:t>BASF Peruana  -  RETC</a:t>
            </a:r>
          </a:p>
        </p:txBody>
      </p:sp>
      <p:sp>
        <p:nvSpPr>
          <p:cNvPr id="4" name="Marcador de número de diapositiva 3">
            <a:extLst>
              <a:ext uri="{FF2B5EF4-FFF2-40B4-BE49-F238E27FC236}">
                <a16:creationId xmlns:a16="http://schemas.microsoft.com/office/drawing/2014/main" id="{07892812-808F-444B-8288-C59C32F9844D}"/>
              </a:ext>
            </a:extLst>
          </p:cNvPr>
          <p:cNvSpPr>
            <a:spLocks noGrp="1"/>
          </p:cNvSpPr>
          <p:nvPr>
            <p:ph type="sldNum" sz="quarter" idx="10"/>
          </p:nvPr>
        </p:nvSpPr>
        <p:spPr/>
        <p:txBody>
          <a:bodyPr/>
          <a:lstStyle/>
          <a:p>
            <a:fld id="{9ED39FAB-3417-4E61-A69A-10C0CE33FFC4}" type="slidenum">
              <a:rPr lang="de-DE" smtClean="0"/>
              <a:pPr/>
              <a:t>16</a:t>
            </a:fld>
            <a:endParaRPr lang="de-DE"/>
          </a:p>
        </p:txBody>
      </p:sp>
      <p:pic>
        <p:nvPicPr>
          <p:cNvPr id="5" name="Imagen 4">
            <a:extLst>
              <a:ext uri="{FF2B5EF4-FFF2-40B4-BE49-F238E27FC236}">
                <a16:creationId xmlns:a16="http://schemas.microsoft.com/office/drawing/2014/main" id="{4B24961C-3D49-440B-8BE3-1B26B263B6D9}"/>
              </a:ext>
            </a:extLst>
          </p:cNvPr>
          <p:cNvPicPr/>
          <p:nvPr/>
        </p:nvPicPr>
        <p:blipFill rotWithShape="1">
          <a:blip r:embed="rId2"/>
          <a:srcRect l="389" t="9872" r="6854" b="21029"/>
          <a:stretch/>
        </p:blipFill>
        <p:spPr>
          <a:xfrm>
            <a:off x="1054646" y="2018755"/>
            <a:ext cx="10153128" cy="3340962"/>
          </a:xfrm>
          <a:prstGeom prst="rect">
            <a:avLst/>
          </a:prstGeom>
          <a:ln w="12700">
            <a:solidFill>
              <a:schemeClr val="tx1"/>
            </a:solidFill>
          </a:ln>
        </p:spPr>
      </p:pic>
      <p:sp>
        <p:nvSpPr>
          <p:cNvPr id="7" name="CuadroTexto 6">
            <a:extLst>
              <a:ext uri="{FF2B5EF4-FFF2-40B4-BE49-F238E27FC236}">
                <a16:creationId xmlns:a16="http://schemas.microsoft.com/office/drawing/2014/main" id="{45915666-03C2-4DD8-A460-AF85CA439B9D}"/>
              </a:ext>
            </a:extLst>
          </p:cNvPr>
          <p:cNvSpPr txBox="1"/>
          <p:nvPr/>
        </p:nvSpPr>
        <p:spPr>
          <a:xfrm>
            <a:off x="720317" y="5877272"/>
            <a:ext cx="9145016" cy="369332"/>
          </a:xfrm>
          <a:prstGeom prst="rect">
            <a:avLst/>
          </a:prstGeom>
          <a:noFill/>
        </p:spPr>
        <p:txBody>
          <a:bodyPr wrap="square" rtlCol="0">
            <a:spAutoFit/>
          </a:bodyPr>
          <a:lstStyle/>
          <a:p>
            <a:r>
              <a:rPr lang="es-PE" dirty="0"/>
              <a:t>Filtrado por código CIIU -  Parámetros  específicos por actividad económica</a:t>
            </a:r>
          </a:p>
        </p:txBody>
      </p:sp>
    </p:spTree>
    <p:extLst>
      <p:ext uri="{BB962C8B-B14F-4D97-AF65-F5344CB8AC3E}">
        <p14:creationId xmlns:p14="http://schemas.microsoft.com/office/powerpoint/2010/main" val="9875478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17E2314-57BB-432E-8A4D-5B9DEAD74BF3}"/>
              </a:ext>
            </a:extLst>
          </p:cNvPr>
          <p:cNvSpPr>
            <a:spLocks noGrp="1"/>
          </p:cNvSpPr>
          <p:nvPr>
            <p:ph type="title"/>
          </p:nvPr>
        </p:nvSpPr>
        <p:spPr/>
        <p:txBody>
          <a:bodyPr/>
          <a:lstStyle/>
          <a:p>
            <a:r>
              <a:rPr lang="es-PE" dirty="0"/>
              <a:t>BASF Peruana  -  RETC</a:t>
            </a:r>
          </a:p>
        </p:txBody>
      </p:sp>
      <p:sp>
        <p:nvSpPr>
          <p:cNvPr id="4" name="Marcador de número de diapositiva 3">
            <a:extLst>
              <a:ext uri="{FF2B5EF4-FFF2-40B4-BE49-F238E27FC236}">
                <a16:creationId xmlns:a16="http://schemas.microsoft.com/office/drawing/2014/main" id="{5624A578-2A91-45E3-AA7C-1302A3EACA91}"/>
              </a:ext>
            </a:extLst>
          </p:cNvPr>
          <p:cNvSpPr>
            <a:spLocks noGrp="1"/>
          </p:cNvSpPr>
          <p:nvPr>
            <p:ph type="sldNum" sz="quarter" idx="10"/>
          </p:nvPr>
        </p:nvSpPr>
        <p:spPr/>
        <p:txBody>
          <a:bodyPr/>
          <a:lstStyle/>
          <a:p>
            <a:fld id="{9ED39FAB-3417-4E61-A69A-10C0CE33FFC4}" type="slidenum">
              <a:rPr lang="de-DE" smtClean="0"/>
              <a:pPr/>
              <a:t>17</a:t>
            </a:fld>
            <a:endParaRPr lang="de-DE"/>
          </a:p>
        </p:txBody>
      </p:sp>
      <p:pic>
        <p:nvPicPr>
          <p:cNvPr id="6" name="Imagen 5">
            <a:extLst>
              <a:ext uri="{FF2B5EF4-FFF2-40B4-BE49-F238E27FC236}">
                <a16:creationId xmlns:a16="http://schemas.microsoft.com/office/drawing/2014/main" id="{E44DE9C1-DE4B-4E53-AA27-BEFBC9CBC450}"/>
              </a:ext>
            </a:extLst>
          </p:cNvPr>
          <p:cNvPicPr>
            <a:picLocks noChangeAspect="1"/>
          </p:cNvPicPr>
          <p:nvPr/>
        </p:nvPicPr>
        <p:blipFill>
          <a:blip r:embed="rId2"/>
          <a:stretch>
            <a:fillRect/>
          </a:stretch>
        </p:blipFill>
        <p:spPr>
          <a:xfrm>
            <a:off x="1543484" y="1700808"/>
            <a:ext cx="8599388" cy="2230275"/>
          </a:xfrm>
          <a:prstGeom prst="rect">
            <a:avLst/>
          </a:prstGeom>
          <a:ln w="12700">
            <a:solidFill>
              <a:schemeClr val="tx1"/>
            </a:solidFill>
          </a:ln>
        </p:spPr>
      </p:pic>
      <p:pic>
        <p:nvPicPr>
          <p:cNvPr id="8" name="Imagen 7">
            <a:extLst>
              <a:ext uri="{FF2B5EF4-FFF2-40B4-BE49-F238E27FC236}">
                <a16:creationId xmlns:a16="http://schemas.microsoft.com/office/drawing/2014/main" id="{540307F5-E87B-467B-A7BB-8023716C06A5}"/>
              </a:ext>
            </a:extLst>
          </p:cNvPr>
          <p:cNvPicPr>
            <a:picLocks noChangeAspect="1"/>
          </p:cNvPicPr>
          <p:nvPr/>
        </p:nvPicPr>
        <p:blipFill>
          <a:blip r:embed="rId3"/>
          <a:stretch>
            <a:fillRect/>
          </a:stretch>
        </p:blipFill>
        <p:spPr>
          <a:xfrm>
            <a:off x="1543484" y="4281241"/>
            <a:ext cx="8599388" cy="2372028"/>
          </a:xfrm>
          <a:prstGeom prst="rect">
            <a:avLst/>
          </a:prstGeom>
          <a:ln w="12700">
            <a:solidFill>
              <a:schemeClr val="tx1"/>
            </a:solidFill>
          </a:ln>
        </p:spPr>
      </p:pic>
    </p:spTree>
    <p:extLst>
      <p:ext uri="{BB962C8B-B14F-4D97-AF65-F5344CB8AC3E}">
        <p14:creationId xmlns:p14="http://schemas.microsoft.com/office/powerpoint/2010/main" val="15678202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A74A92C-1D2B-4DD8-8F2F-28DDDA23A8FC}"/>
              </a:ext>
            </a:extLst>
          </p:cNvPr>
          <p:cNvSpPr>
            <a:spLocks noGrp="1"/>
          </p:cNvSpPr>
          <p:nvPr>
            <p:ph type="title"/>
          </p:nvPr>
        </p:nvSpPr>
        <p:spPr/>
        <p:txBody>
          <a:bodyPr/>
          <a:lstStyle/>
          <a:p>
            <a:r>
              <a:rPr lang="es-PE" dirty="0"/>
              <a:t>Conclusiones</a:t>
            </a:r>
          </a:p>
        </p:txBody>
      </p:sp>
      <p:sp>
        <p:nvSpPr>
          <p:cNvPr id="3" name="Marcador de texto 2">
            <a:extLst>
              <a:ext uri="{FF2B5EF4-FFF2-40B4-BE49-F238E27FC236}">
                <a16:creationId xmlns:a16="http://schemas.microsoft.com/office/drawing/2014/main" id="{0C5D68E6-DA61-4359-9FDB-EF473D37963E}"/>
              </a:ext>
            </a:extLst>
          </p:cNvPr>
          <p:cNvSpPr>
            <a:spLocks noGrp="1"/>
          </p:cNvSpPr>
          <p:nvPr>
            <p:ph type="body" idx="1"/>
          </p:nvPr>
        </p:nvSpPr>
        <p:spPr>
          <a:xfrm>
            <a:off x="298562" y="1844824"/>
            <a:ext cx="11395457" cy="4800776"/>
          </a:xfrm>
        </p:spPr>
        <p:txBody>
          <a:bodyPr/>
          <a:lstStyle/>
          <a:p>
            <a:r>
              <a:rPr lang="es-PE" dirty="0"/>
              <a:t>El compromiso de BASF con RETC -  estamos convencidos que la herramienta va a funcionar y por ello nosotros seguiremos reportando el próximo año para seguir mejorando la política ambiental de nuestro país.</a:t>
            </a:r>
          </a:p>
          <a:p>
            <a:endParaRPr lang="es-PE" dirty="0"/>
          </a:p>
          <a:p>
            <a:r>
              <a:rPr lang="es-PE" dirty="0"/>
              <a:t>BASF considera que esta iniciativa es algo productivo para el país, puesto que lleva a buscar alianzas con otras instituciones mundiales y nos pone en la vanguardia de otras naciones para replicar algunas metodologías de mejora frente a la conservación del ambiente.</a:t>
            </a:r>
          </a:p>
          <a:p>
            <a:endParaRPr lang="es-PE" dirty="0"/>
          </a:p>
          <a:p>
            <a:r>
              <a:rPr lang="es-PE" dirty="0"/>
              <a:t>La plataforma de trabajo para poder emitir los reportes es muy amigables e instintivamente fácil de llenar, así también es rápida y la forma de dar respuestas por parte de la entidad publica es muy eficiente.</a:t>
            </a:r>
          </a:p>
          <a:p>
            <a:endParaRPr lang="es-PE" dirty="0"/>
          </a:p>
          <a:p>
            <a:r>
              <a:rPr lang="es-PE" dirty="0"/>
              <a:t>Ayudará a potenciar la cultura ambiental que debemos de tener como Peruanos. </a:t>
            </a:r>
          </a:p>
        </p:txBody>
      </p:sp>
      <p:sp>
        <p:nvSpPr>
          <p:cNvPr id="4" name="Marcador de número de diapositiva 3">
            <a:extLst>
              <a:ext uri="{FF2B5EF4-FFF2-40B4-BE49-F238E27FC236}">
                <a16:creationId xmlns:a16="http://schemas.microsoft.com/office/drawing/2014/main" id="{009E16A3-0F50-4269-8DB2-50FCE4DA699A}"/>
              </a:ext>
            </a:extLst>
          </p:cNvPr>
          <p:cNvSpPr>
            <a:spLocks noGrp="1"/>
          </p:cNvSpPr>
          <p:nvPr>
            <p:ph type="sldNum" sz="quarter" idx="10"/>
          </p:nvPr>
        </p:nvSpPr>
        <p:spPr/>
        <p:txBody>
          <a:bodyPr/>
          <a:lstStyle/>
          <a:p>
            <a:fld id="{9ED39FAB-3417-4E61-A69A-10C0CE33FFC4}" type="slidenum">
              <a:rPr lang="de-DE" smtClean="0"/>
              <a:pPr/>
              <a:t>18</a:t>
            </a:fld>
            <a:endParaRPr lang="de-DE"/>
          </a:p>
        </p:txBody>
      </p:sp>
    </p:spTree>
    <p:extLst>
      <p:ext uri="{BB962C8B-B14F-4D97-AF65-F5344CB8AC3E}">
        <p14:creationId xmlns:p14="http://schemas.microsoft.com/office/powerpoint/2010/main" val="19345048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1"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54989" name="Picture 13" descr="C:\Documents and Settings\ROESSO\My Documents\Ablage\Corporate Design\PowerPoint\Logos Wizard\BASFc_Q_PPT_38_blau-hell.tif"/>
          <p:cNvPicPr>
            <a:picLocks noChangeAspect="1" noChangeArrowheads="1"/>
          </p:cNvPicPr>
          <p:nvPr/>
        </p:nvPicPr>
        <p:blipFill>
          <a:blip r:embed="rId7">
            <a:extLst>
              <a:ext uri="{28A0092B-C50C-407E-A947-70E740481C1C}">
                <a14:useLocalDpi xmlns:a14="http://schemas.microsoft.com/office/drawing/2010/main"/>
              </a:ext>
            </a:extLst>
          </a:blip>
          <a:srcRect t="90031"/>
          <a:stretch>
            <a:fillRect/>
          </a:stretch>
        </p:blipFill>
        <p:spPr bwMode="auto">
          <a:xfrm>
            <a:off x="2119" y="1"/>
            <a:ext cx="1218618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53206" y="2329424"/>
            <a:ext cx="6091200" cy="2199152"/>
          </a:xfrm>
          <a:prstGeom prst="rect">
            <a:avLst/>
          </a:prstGeom>
        </p:spPr>
      </p:pic>
    </p:spTree>
    <p:extLst>
      <p:ext uri="{BB962C8B-B14F-4D97-AF65-F5344CB8AC3E}">
        <p14:creationId xmlns:p14="http://schemas.microsoft.com/office/powerpoint/2010/main" val="297202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23206" y="0"/>
          <a:ext cx="158750" cy="158750"/>
        </p:xfrm>
        <a:graphic>
          <a:graphicData uri="http://schemas.openxmlformats.org/presentationml/2006/ole">
            <mc:AlternateContent xmlns:mc="http://schemas.openxmlformats.org/markup-compatibility/2006">
              <mc:Choice xmlns:v="urn:schemas-microsoft-com:vml" Requires="v">
                <p:oleObj spid="_x0000_s39973"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23206" y="0"/>
                        <a:ext cx="158750" cy="158750"/>
                      </a:xfrm>
                      <a:prstGeom prst="rect">
                        <a:avLst/>
                      </a:prstGeom>
                    </p:spPr>
                  </p:pic>
                </p:oleObj>
              </mc:Fallback>
            </mc:AlternateContent>
          </a:graphicData>
        </a:graphic>
      </p:graphicFrame>
      <p:sp>
        <p:nvSpPr>
          <p:cNvPr id="6146" name="Titel 1"/>
          <p:cNvSpPr>
            <a:spLocks noGrp="1"/>
          </p:cNvSpPr>
          <p:nvPr>
            <p:ph type="title"/>
          </p:nvPr>
        </p:nvSpPr>
        <p:spPr/>
        <p:txBody>
          <a:bodyPr/>
          <a:lstStyle/>
          <a:p>
            <a:pPr eaLnBrk="1" hangingPunct="1"/>
            <a:r>
              <a:rPr lang="de-DE" dirty="0">
                <a:latin typeface="Arial" charset="0"/>
                <a:cs typeface="Arial"/>
              </a:rPr>
              <a:t>Agenda</a:t>
            </a:r>
          </a:p>
        </p:txBody>
      </p:sp>
      <p:sp>
        <p:nvSpPr>
          <p:cNvPr id="3" name="Foliennummernplatzhalter 2"/>
          <p:cNvSpPr>
            <a:spLocks noGrp="1"/>
          </p:cNvSpPr>
          <p:nvPr>
            <p:ph type="sldNum" sz="quarter" idx="10"/>
          </p:nvPr>
        </p:nvSpPr>
        <p:spPr/>
        <p:txBody>
          <a:bodyPr/>
          <a:lstStyle/>
          <a:p>
            <a:fld id="{58F8B7A0-D549-4FD1-AE78-D1C36FE8F368}" type="slidenum">
              <a:rPr lang="de-DE" smtClean="0"/>
              <a:pPr/>
              <a:t>2</a:t>
            </a:fld>
            <a:endParaRPr lang="de-DE"/>
          </a:p>
        </p:txBody>
      </p:sp>
      <p:sp>
        <p:nvSpPr>
          <p:cNvPr id="17" name="Line 77"/>
          <p:cNvSpPr>
            <a:spLocks noChangeShapeType="1"/>
          </p:cNvSpPr>
          <p:nvPr/>
        </p:nvSpPr>
        <p:spPr bwMode="auto">
          <a:xfrm>
            <a:off x="237773" y="2286000"/>
            <a:ext cx="10368000" cy="0"/>
          </a:xfrm>
          <a:prstGeom prst="line">
            <a:avLst/>
          </a:prstGeom>
          <a:noFill/>
          <a:ln w="12700">
            <a:solidFill>
              <a:schemeClr val="accent1"/>
            </a:solidFill>
            <a:round/>
            <a:headEnd/>
            <a:tailEnd/>
          </a:ln>
          <a:extLst>
            <a:ext uri="{909E8E84-426E-40DD-AFC4-6F175D3DCCD1}">
              <a14:hiddenFill xmlns:a14="http://schemas.microsoft.com/office/drawing/2010/main">
                <a:noFill/>
              </a14:hiddenFill>
            </a:ext>
          </a:extLst>
        </p:spPr>
        <p:txBody>
          <a:bodyPr lIns="0" tIns="0" rIns="0" bIns="0"/>
          <a:lstStyle/>
          <a:p>
            <a:pPr fontAlgn="base">
              <a:spcBef>
                <a:spcPct val="0"/>
              </a:spcBef>
              <a:spcAft>
                <a:spcPct val="0"/>
              </a:spcAft>
            </a:pPr>
            <a:endParaRPr lang="de-DE">
              <a:solidFill>
                <a:srgbClr val="000000"/>
              </a:solidFill>
              <a:latin typeface="Arial" charset="0"/>
              <a:cs typeface="Arial" charset="0"/>
            </a:endParaRPr>
          </a:p>
        </p:txBody>
      </p:sp>
      <p:sp>
        <p:nvSpPr>
          <p:cNvPr id="21" name="Rechteck 20"/>
          <p:cNvSpPr/>
          <p:nvPr/>
        </p:nvSpPr>
        <p:spPr>
          <a:xfrm>
            <a:off x="777448" y="1944000"/>
            <a:ext cx="9962273" cy="338554"/>
          </a:xfrm>
          <a:prstGeom prst="rect">
            <a:avLst/>
          </a:prstGeom>
        </p:spPr>
        <p:txBody>
          <a:bodyPr wrap="square" lIns="0" tIns="0" rIns="0" bIns="0" anchor="t" anchorCtr="0">
            <a:spAutoFit/>
          </a:bodyPr>
          <a:lstStyle/>
          <a:p>
            <a:pPr>
              <a:lnSpc>
                <a:spcPct val="110000"/>
              </a:lnSpc>
              <a:tabLst>
                <a:tab pos="7262813" algn="l"/>
                <a:tab pos="8426450" algn="l"/>
              </a:tabLst>
            </a:pPr>
            <a:r>
              <a:rPr lang="en-US" sz="2000" dirty="0"/>
              <a:t>BASF  Historia	Slide	3</a:t>
            </a:r>
          </a:p>
        </p:txBody>
      </p:sp>
      <p:sp>
        <p:nvSpPr>
          <p:cNvPr id="25" name="Rechteck 24"/>
          <p:cNvSpPr/>
          <p:nvPr/>
        </p:nvSpPr>
        <p:spPr>
          <a:xfrm>
            <a:off x="237773" y="1842128"/>
            <a:ext cx="200376" cy="473976"/>
          </a:xfrm>
          <a:prstGeom prst="rect">
            <a:avLst/>
          </a:prstGeom>
        </p:spPr>
        <p:txBody>
          <a:bodyPr wrap="none" lIns="0" tIns="0" rIns="0" bIns="0" anchor="b" anchorCtr="0">
            <a:spAutoFit/>
          </a:bodyPr>
          <a:lstStyle/>
          <a:p>
            <a:pPr>
              <a:lnSpc>
                <a:spcPct val="110000"/>
              </a:lnSpc>
            </a:pPr>
            <a:r>
              <a:rPr lang="de-DE" sz="2800" b="1" dirty="0">
                <a:solidFill>
                  <a:schemeClr val="accent1"/>
                </a:solidFill>
                <a:latin typeface="Arial" charset="0"/>
                <a:cs typeface="Arial"/>
              </a:rPr>
              <a:t>1</a:t>
            </a:r>
            <a:endParaRPr lang="de-DE" sz="2800" b="1" dirty="0">
              <a:solidFill>
                <a:schemeClr val="accent1"/>
              </a:solidFill>
              <a:latin typeface="Arial" pitchFamily="34" charset="0"/>
            </a:endParaRPr>
          </a:p>
        </p:txBody>
      </p:sp>
      <p:sp>
        <p:nvSpPr>
          <p:cNvPr id="26" name="Line 77"/>
          <p:cNvSpPr>
            <a:spLocks noChangeShapeType="1"/>
          </p:cNvSpPr>
          <p:nvPr/>
        </p:nvSpPr>
        <p:spPr bwMode="auto">
          <a:xfrm>
            <a:off x="237773" y="2938339"/>
            <a:ext cx="10368000" cy="0"/>
          </a:xfrm>
          <a:prstGeom prst="line">
            <a:avLst/>
          </a:prstGeom>
          <a:noFill/>
          <a:ln w="12700">
            <a:solidFill>
              <a:srgbClr val="004A96"/>
            </a:solidFill>
            <a:round/>
            <a:headEnd/>
            <a:tailEnd/>
          </a:ln>
          <a:extLst>
            <a:ext uri="{909E8E84-426E-40DD-AFC4-6F175D3DCCD1}">
              <a14:hiddenFill xmlns:a14="http://schemas.microsoft.com/office/drawing/2010/main">
                <a:noFill/>
              </a14:hiddenFill>
            </a:ext>
          </a:extLst>
        </p:spPr>
        <p:txBody>
          <a:bodyPr lIns="0" tIns="0" rIns="0" bIns="0"/>
          <a:lstStyle/>
          <a:p>
            <a:pPr fontAlgn="base">
              <a:spcBef>
                <a:spcPct val="0"/>
              </a:spcBef>
              <a:spcAft>
                <a:spcPct val="0"/>
              </a:spcAft>
            </a:pPr>
            <a:endParaRPr lang="de-DE">
              <a:solidFill>
                <a:srgbClr val="000000"/>
              </a:solidFill>
              <a:latin typeface="Arial" charset="0"/>
              <a:cs typeface="Arial" charset="0"/>
            </a:endParaRPr>
          </a:p>
        </p:txBody>
      </p:sp>
      <p:sp>
        <p:nvSpPr>
          <p:cNvPr id="27" name="Rechteck 26"/>
          <p:cNvSpPr/>
          <p:nvPr/>
        </p:nvSpPr>
        <p:spPr>
          <a:xfrm>
            <a:off x="777449" y="2596339"/>
            <a:ext cx="9962272" cy="338554"/>
          </a:xfrm>
          <a:prstGeom prst="rect">
            <a:avLst/>
          </a:prstGeom>
        </p:spPr>
        <p:txBody>
          <a:bodyPr wrap="square" lIns="0" tIns="0" rIns="0" bIns="0" anchor="t" anchorCtr="0">
            <a:spAutoFit/>
          </a:bodyPr>
          <a:lstStyle/>
          <a:p>
            <a:pPr>
              <a:lnSpc>
                <a:spcPct val="110000"/>
              </a:lnSpc>
              <a:tabLst>
                <a:tab pos="7262813" algn="l"/>
                <a:tab pos="8426450" algn="l"/>
              </a:tabLst>
            </a:pPr>
            <a:r>
              <a:rPr lang="en-US" sz="2000" dirty="0"/>
              <a:t>BASF </a:t>
            </a:r>
            <a:r>
              <a:rPr lang="en-US" sz="2000" dirty="0" err="1"/>
              <a:t>en</a:t>
            </a:r>
            <a:r>
              <a:rPr lang="en-US" sz="2000" dirty="0"/>
              <a:t> América del Sur	Slides 	4 - 6</a:t>
            </a:r>
          </a:p>
        </p:txBody>
      </p:sp>
      <p:sp>
        <p:nvSpPr>
          <p:cNvPr id="28" name="Rechteck 27"/>
          <p:cNvSpPr/>
          <p:nvPr/>
        </p:nvSpPr>
        <p:spPr>
          <a:xfrm>
            <a:off x="237773" y="2494467"/>
            <a:ext cx="200376" cy="473976"/>
          </a:xfrm>
          <a:prstGeom prst="rect">
            <a:avLst/>
          </a:prstGeom>
        </p:spPr>
        <p:txBody>
          <a:bodyPr wrap="none" lIns="0" tIns="0" rIns="0" bIns="0" anchor="b" anchorCtr="0">
            <a:spAutoFit/>
          </a:bodyPr>
          <a:lstStyle/>
          <a:p>
            <a:pPr>
              <a:lnSpc>
                <a:spcPct val="110000"/>
              </a:lnSpc>
            </a:pPr>
            <a:r>
              <a:rPr lang="de-DE" sz="2800" b="1" dirty="0">
                <a:solidFill>
                  <a:srgbClr val="004A96"/>
                </a:solidFill>
                <a:latin typeface="Arial" charset="0"/>
                <a:cs typeface="Arial"/>
              </a:rPr>
              <a:t>2</a:t>
            </a:r>
            <a:endParaRPr lang="de-DE" sz="2800" b="1" dirty="0">
              <a:solidFill>
                <a:srgbClr val="004A96"/>
              </a:solidFill>
              <a:latin typeface="Arial" pitchFamily="34" charset="0"/>
            </a:endParaRPr>
          </a:p>
        </p:txBody>
      </p:sp>
      <p:sp>
        <p:nvSpPr>
          <p:cNvPr id="29" name="Line 77"/>
          <p:cNvSpPr>
            <a:spLocks noChangeShapeType="1"/>
          </p:cNvSpPr>
          <p:nvPr/>
        </p:nvSpPr>
        <p:spPr bwMode="auto">
          <a:xfrm>
            <a:off x="237773" y="3598173"/>
            <a:ext cx="10368000" cy="0"/>
          </a:xfrm>
          <a:prstGeom prst="line">
            <a:avLst/>
          </a:prstGeom>
          <a:noFill/>
          <a:ln w="12700">
            <a:solidFill>
              <a:srgbClr val="F39500"/>
            </a:solidFill>
            <a:round/>
            <a:headEnd/>
            <a:tailEnd/>
          </a:ln>
          <a:extLst>
            <a:ext uri="{909E8E84-426E-40DD-AFC4-6F175D3DCCD1}">
              <a14:hiddenFill xmlns:a14="http://schemas.microsoft.com/office/drawing/2010/main">
                <a:noFill/>
              </a14:hiddenFill>
            </a:ext>
          </a:extLst>
        </p:spPr>
        <p:txBody>
          <a:bodyPr lIns="0" tIns="0" rIns="0" bIns="0"/>
          <a:lstStyle/>
          <a:p>
            <a:pPr fontAlgn="base">
              <a:spcBef>
                <a:spcPct val="0"/>
              </a:spcBef>
              <a:spcAft>
                <a:spcPct val="0"/>
              </a:spcAft>
            </a:pPr>
            <a:endParaRPr lang="de-DE">
              <a:solidFill>
                <a:srgbClr val="000000"/>
              </a:solidFill>
              <a:latin typeface="Arial" charset="0"/>
              <a:cs typeface="Arial" charset="0"/>
            </a:endParaRPr>
          </a:p>
        </p:txBody>
      </p:sp>
      <p:sp>
        <p:nvSpPr>
          <p:cNvPr id="30" name="Rechteck 29"/>
          <p:cNvSpPr/>
          <p:nvPr/>
        </p:nvSpPr>
        <p:spPr>
          <a:xfrm>
            <a:off x="777449" y="3256173"/>
            <a:ext cx="9962272" cy="338554"/>
          </a:xfrm>
          <a:prstGeom prst="rect">
            <a:avLst/>
          </a:prstGeom>
        </p:spPr>
        <p:txBody>
          <a:bodyPr wrap="square" lIns="0" tIns="0" rIns="0" bIns="0" anchor="t" anchorCtr="0">
            <a:spAutoFit/>
          </a:bodyPr>
          <a:lstStyle/>
          <a:p>
            <a:pPr>
              <a:lnSpc>
                <a:spcPct val="110000"/>
              </a:lnSpc>
              <a:tabLst>
                <a:tab pos="7262813" algn="l"/>
                <a:tab pos="8426450" algn="l"/>
              </a:tabLst>
            </a:pPr>
            <a:r>
              <a:rPr lang="de-DE" sz="2000" dirty="0"/>
              <a:t>BASF Peruana	Slide 	7</a:t>
            </a:r>
          </a:p>
        </p:txBody>
      </p:sp>
      <p:sp>
        <p:nvSpPr>
          <p:cNvPr id="31" name="Rechteck 30"/>
          <p:cNvSpPr/>
          <p:nvPr/>
        </p:nvSpPr>
        <p:spPr>
          <a:xfrm>
            <a:off x="237773" y="3154301"/>
            <a:ext cx="200376" cy="473976"/>
          </a:xfrm>
          <a:prstGeom prst="rect">
            <a:avLst/>
          </a:prstGeom>
        </p:spPr>
        <p:txBody>
          <a:bodyPr wrap="none" lIns="0" tIns="0" rIns="0" bIns="0" anchor="b" anchorCtr="0">
            <a:spAutoFit/>
          </a:bodyPr>
          <a:lstStyle/>
          <a:p>
            <a:pPr>
              <a:lnSpc>
                <a:spcPct val="110000"/>
              </a:lnSpc>
            </a:pPr>
            <a:r>
              <a:rPr lang="de-DE" sz="2800" b="1" dirty="0">
                <a:solidFill>
                  <a:srgbClr val="F39500"/>
                </a:solidFill>
                <a:latin typeface="Arial" charset="0"/>
                <a:cs typeface="Arial"/>
              </a:rPr>
              <a:t>3</a:t>
            </a:r>
            <a:endParaRPr lang="de-DE" sz="2800" b="1" dirty="0">
              <a:solidFill>
                <a:srgbClr val="F39500"/>
              </a:solidFill>
              <a:latin typeface="Arial" pitchFamily="34" charset="0"/>
            </a:endParaRPr>
          </a:p>
        </p:txBody>
      </p:sp>
      <p:sp>
        <p:nvSpPr>
          <p:cNvPr id="32" name="Line 77"/>
          <p:cNvSpPr>
            <a:spLocks noChangeShapeType="1"/>
          </p:cNvSpPr>
          <p:nvPr/>
        </p:nvSpPr>
        <p:spPr bwMode="auto">
          <a:xfrm>
            <a:off x="237773" y="4258007"/>
            <a:ext cx="10368000" cy="0"/>
          </a:xfrm>
          <a:prstGeom prst="line">
            <a:avLst/>
          </a:prstGeom>
          <a:noFill/>
          <a:ln w="12700">
            <a:solidFill>
              <a:srgbClr val="65AC1E"/>
            </a:solidFill>
            <a:round/>
            <a:headEnd/>
            <a:tailEnd/>
          </a:ln>
          <a:extLst>
            <a:ext uri="{909E8E84-426E-40DD-AFC4-6F175D3DCCD1}">
              <a14:hiddenFill xmlns:a14="http://schemas.microsoft.com/office/drawing/2010/main">
                <a:noFill/>
              </a14:hiddenFill>
            </a:ext>
          </a:extLst>
        </p:spPr>
        <p:txBody>
          <a:bodyPr lIns="0" tIns="0" rIns="0" bIns="0"/>
          <a:lstStyle/>
          <a:p>
            <a:pPr fontAlgn="base">
              <a:spcBef>
                <a:spcPct val="0"/>
              </a:spcBef>
              <a:spcAft>
                <a:spcPct val="0"/>
              </a:spcAft>
            </a:pPr>
            <a:endParaRPr lang="de-DE">
              <a:solidFill>
                <a:srgbClr val="000000"/>
              </a:solidFill>
              <a:latin typeface="Arial" charset="0"/>
              <a:cs typeface="Arial" charset="0"/>
            </a:endParaRPr>
          </a:p>
        </p:txBody>
      </p:sp>
      <p:sp>
        <p:nvSpPr>
          <p:cNvPr id="33" name="Rechteck 32"/>
          <p:cNvSpPr/>
          <p:nvPr/>
        </p:nvSpPr>
        <p:spPr>
          <a:xfrm>
            <a:off x="777449" y="3916007"/>
            <a:ext cx="9962272" cy="338554"/>
          </a:xfrm>
          <a:prstGeom prst="rect">
            <a:avLst/>
          </a:prstGeom>
        </p:spPr>
        <p:txBody>
          <a:bodyPr wrap="square" lIns="0" tIns="0" rIns="0" bIns="0" anchor="t" anchorCtr="0">
            <a:spAutoFit/>
          </a:bodyPr>
          <a:lstStyle/>
          <a:p>
            <a:pPr>
              <a:lnSpc>
                <a:spcPct val="110000"/>
              </a:lnSpc>
              <a:tabLst>
                <a:tab pos="7262813" algn="l"/>
                <a:tab pos="8426450" algn="l"/>
              </a:tabLst>
            </a:pPr>
            <a:r>
              <a:rPr lang="en-US" sz="2000" dirty="0"/>
              <a:t>Cambio </a:t>
            </a:r>
            <a:r>
              <a:rPr lang="en-US" sz="2000" dirty="0" err="1"/>
              <a:t>Climático</a:t>
            </a:r>
            <a:r>
              <a:rPr lang="en-US" sz="2000" dirty="0"/>
              <a:t> - BASF	Slide 	8</a:t>
            </a:r>
          </a:p>
        </p:txBody>
      </p:sp>
      <p:sp>
        <p:nvSpPr>
          <p:cNvPr id="34" name="Rechteck 33"/>
          <p:cNvSpPr/>
          <p:nvPr/>
        </p:nvSpPr>
        <p:spPr>
          <a:xfrm>
            <a:off x="237773" y="3814135"/>
            <a:ext cx="200376" cy="473976"/>
          </a:xfrm>
          <a:prstGeom prst="rect">
            <a:avLst/>
          </a:prstGeom>
        </p:spPr>
        <p:txBody>
          <a:bodyPr wrap="none" lIns="0" tIns="0" rIns="0" bIns="0" anchor="b" anchorCtr="0">
            <a:spAutoFit/>
          </a:bodyPr>
          <a:lstStyle/>
          <a:p>
            <a:pPr>
              <a:lnSpc>
                <a:spcPct val="110000"/>
              </a:lnSpc>
            </a:pPr>
            <a:r>
              <a:rPr lang="de-DE" sz="2800" b="1" dirty="0">
                <a:solidFill>
                  <a:srgbClr val="65AC1E"/>
                </a:solidFill>
                <a:latin typeface="Arial" charset="0"/>
                <a:cs typeface="Arial"/>
              </a:rPr>
              <a:t>4</a:t>
            </a:r>
            <a:endParaRPr lang="de-DE" sz="2800" b="1" dirty="0">
              <a:solidFill>
                <a:srgbClr val="65AC1E"/>
              </a:solidFill>
              <a:latin typeface="Arial" pitchFamily="34" charset="0"/>
            </a:endParaRPr>
          </a:p>
        </p:txBody>
      </p:sp>
      <p:sp>
        <p:nvSpPr>
          <p:cNvPr id="18" name="Line 77">
            <a:extLst>
              <a:ext uri="{FF2B5EF4-FFF2-40B4-BE49-F238E27FC236}">
                <a16:creationId xmlns:a16="http://schemas.microsoft.com/office/drawing/2014/main" id="{51486C92-08A9-471F-BE99-63651FC79F47}"/>
              </a:ext>
            </a:extLst>
          </p:cNvPr>
          <p:cNvSpPr>
            <a:spLocks noChangeShapeType="1"/>
          </p:cNvSpPr>
          <p:nvPr/>
        </p:nvSpPr>
        <p:spPr bwMode="auto">
          <a:xfrm>
            <a:off x="254309" y="4795284"/>
            <a:ext cx="10368000" cy="0"/>
          </a:xfrm>
          <a:prstGeom prst="line">
            <a:avLst/>
          </a:prstGeom>
          <a:noFill/>
          <a:ln w="12700">
            <a:solidFill>
              <a:schemeClr val="accent1"/>
            </a:solidFill>
            <a:round/>
            <a:headEnd/>
            <a:tailEnd/>
          </a:ln>
          <a:extLst>
            <a:ext uri="{909E8E84-426E-40DD-AFC4-6F175D3DCCD1}">
              <a14:hiddenFill xmlns:a14="http://schemas.microsoft.com/office/drawing/2010/main">
                <a:noFill/>
              </a14:hiddenFill>
            </a:ext>
          </a:extLst>
        </p:spPr>
        <p:txBody>
          <a:bodyPr lIns="0" tIns="0" rIns="0" bIns="0"/>
          <a:lstStyle/>
          <a:p>
            <a:pPr fontAlgn="base">
              <a:spcBef>
                <a:spcPct val="0"/>
              </a:spcBef>
              <a:spcAft>
                <a:spcPct val="0"/>
              </a:spcAft>
            </a:pPr>
            <a:endParaRPr lang="de-DE">
              <a:solidFill>
                <a:srgbClr val="000000"/>
              </a:solidFill>
              <a:latin typeface="Arial" charset="0"/>
              <a:cs typeface="Arial" charset="0"/>
            </a:endParaRPr>
          </a:p>
        </p:txBody>
      </p:sp>
      <p:sp>
        <p:nvSpPr>
          <p:cNvPr id="19" name="Rechteck 20">
            <a:extLst>
              <a:ext uri="{FF2B5EF4-FFF2-40B4-BE49-F238E27FC236}">
                <a16:creationId xmlns:a16="http://schemas.microsoft.com/office/drawing/2014/main" id="{7EC29414-C9B4-44E5-A6EA-D08B082F41C6}"/>
              </a:ext>
            </a:extLst>
          </p:cNvPr>
          <p:cNvSpPr/>
          <p:nvPr/>
        </p:nvSpPr>
        <p:spPr>
          <a:xfrm>
            <a:off x="793984" y="4453284"/>
            <a:ext cx="9962273" cy="338554"/>
          </a:xfrm>
          <a:prstGeom prst="rect">
            <a:avLst/>
          </a:prstGeom>
        </p:spPr>
        <p:txBody>
          <a:bodyPr wrap="square" lIns="0" tIns="0" rIns="0" bIns="0" anchor="t" anchorCtr="0">
            <a:spAutoFit/>
          </a:bodyPr>
          <a:lstStyle/>
          <a:p>
            <a:pPr>
              <a:lnSpc>
                <a:spcPct val="110000"/>
              </a:lnSpc>
              <a:tabLst>
                <a:tab pos="7262813" algn="l"/>
                <a:tab pos="8426450" algn="l"/>
              </a:tabLst>
            </a:pPr>
            <a:r>
              <a:rPr lang="en-US" sz="2000" dirty="0" err="1"/>
              <a:t>Metas</a:t>
            </a:r>
            <a:r>
              <a:rPr lang="en-US" sz="2000" dirty="0"/>
              <a:t>  </a:t>
            </a:r>
            <a:r>
              <a:rPr lang="en-US" sz="2000" dirty="0" err="1"/>
              <a:t>Ambientales</a:t>
            </a:r>
            <a:r>
              <a:rPr lang="en-US" sz="2000" dirty="0"/>
              <a:t>  	Slides	9 - 10</a:t>
            </a:r>
          </a:p>
        </p:txBody>
      </p:sp>
      <p:sp>
        <p:nvSpPr>
          <p:cNvPr id="20" name="Rechteck 24">
            <a:extLst>
              <a:ext uri="{FF2B5EF4-FFF2-40B4-BE49-F238E27FC236}">
                <a16:creationId xmlns:a16="http://schemas.microsoft.com/office/drawing/2014/main" id="{A13108F4-25A0-402D-A539-42172C15ED94}"/>
              </a:ext>
            </a:extLst>
          </p:cNvPr>
          <p:cNvSpPr/>
          <p:nvPr/>
        </p:nvSpPr>
        <p:spPr>
          <a:xfrm>
            <a:off x="254309" y="4388152"/>
            <a:ext cx="200376" cy="437236"/>
          </a:xfrm>
          <a:prstGeom prst="rect">
            <a:avLst/>
          </a:prstGeom>
        </p:spPr>
        <p:txBody>
          <a:bodyPr wrap="none" lIns="0" tIns="0" rIns="0" bIns="0" anchor="b" anchorCtr="0">
            <a:spAutoFit/>
          </a:bodyPr>
          <a:lstStyle/>
          <a:p>
            <a:pPr>
              <a:lnSpc>
                <a:spcPct val="110000"/>
              </a:lnSpc>
            </a:pPr>
            <a:r>
              <a:rPr lang="de-DE" sz="2800" b="1" dirty="0">
                <a:solidFill>
                  <a:schemeClr val="accent1"/>
                </a:solidFill>
                <a:latin typeface="Arial" pitchFamily="34" charset="0"/>
              </a:rPr>
              <a:t>5</a:t>
            </a:r>
          </a:p>
        </p:txBody>
      </p:sp>
      <p:sp>
        <p:nvSpPr>
          <p:cNvPr id="22" name="Line 77">
            <a:extLst>
              <a:ext uri="{FF2B5EF4-FFF2-40B4-BE49-F238E27FC236}">
                <a16:creationId xmlns:a16="http://schemas.microsoft.com/office/drawing/2014/main" id="{80101DBA-2E47-45D6-8DBE-23ABAB0F4D20}"/>
              </a:ext>
            </a:extLst>
          </p:cNvPr>
          <p:cNvSpPr>
            <a:spLocks noChangeShapeType="1"/>
          </p:cNvSpPr>
          <p:nvPr/>
        </p:nvSpPr>
        <p:spPr bwMode="auto">
          <a:xfrm>
            <a:off x="254309" y="5447623"/>
            <a:ext cx="10368000" cy="0"/>
          </a:xfrm>
          <a:prstGeom prst="line">
            <a:avLst/>
          </a:prstGeom>
          <a:noFill/>
          <a:ln w="12700">
            <a:solidFill>
              <a:srgbClr val="004A96"/>
            </a:solidFill>
            <a:round/>
            <a:headEnd/>
            <a:tailEnd/>
          </a:ln>
          <a:extLst>
            <a:ext uri="{909E8E84-426E-40DD-AFC4-6F175D3DCCD1}">
              <a14:hiddenFill xmlns:a14="http://schemas.microsoft.com/office/drawing/2010/main">
                <a:noFill/>
              </a14:hiddenFill>
            </a:ext>
          </a:extLst>
        </p:spPr>
        <p:txBody>
          <a:bodyPr lIns="0" tIns="0" rIns="0" bIns="0"/>
          <a:lstStyle/>
          <a:p>
            <a:pPr fontAlgn="base">
              <a:spcBef>
                <a:spcPct val="0"/>
              </a:spcBef>
              <a:spcAft>
                <a:spcPct val="0"/>
              </a:spcAft>
            </a:pPr>
            <a:endParaRPr lang="de-DE">
              <a:solidFill>
                <a:srgbClr val="000000"/>
              </a:solidFill>
              <a:latin typeface="Arial" charset="0"/>
              <a:cs typeface="Arial" charset="0"/>
            </a:endParaRPr>
          </a:p>
        </p:txBody>
      </p:sp>
      <p:sp>
        <p:nvSpPr>
          <p:cNvPr id="23" name="Rechteck 26">
            <a:extLst>
              <a:ext uri="{FF2B5EF4-FFF2-40B4-BE49-F238E27FC236}">
                <a16:creationId xmlns:a16="http://schemas.microsoft.com/office/drawing/2014/main" id="{1254948D-364A-40DF-9047-DEC6D43FA29A}"/>
              </a:ext>
            </a:extLst>
          </p:cNvPr>
          <p:cNvSpPr/>
          <p:nvPr/>
        </p:nvSpPr>
        <p:spPr>
          <a:xfrm>
            <a:off x="793985" y="5105623"/>
            <a:ext cx="9962272" cy="338554"/>
          </a:xfrm>
          <a:prstGeom prst="rect">
            <a:avLst/>
          </a:prstGeom>
        </p:spPr>
        <p:txBody>
          <a:bodyPr wrap="square" lIns="0" tIns="0" rIns="0" bIns="0" anchor="t" anchorCtr="0">
            <a:spAutoFit/>
          </a:bodyPr>
          <a:lstStyle/>
          <a:p>
            <a:pPr>
              <a:lnSpc>
                <a:spcPct val="110000"/>
              </a:lnSpc>
              <a:tabLst>
                <a:tab pos="7262813" algn="l"/>
                <a:tab pos="8426450" algn="l"/>
              </a:tabLst>
            </a:pPr>
            <a:r>
              <a:rPr lang="en-US" sz="2000" dirty="0"/>
              <a:t>Responsible Care	Slides 	11 - 12</a:t>
            </a:r>
          </a:p>
        </p:txBody>
      </p:sp>
      <p:sp>
        <p:nvSpPr>
          <p:cNvPr id="24" name="Rechteck 27">
            <a:extLst>
              <a:ext uri="{FF2B5EF4-FFF2-40B4-BE49-F238E27FC236}">
                <a16:creationId xmlns:a16="http://schemas.microsoft.com/office/drawing/2014/main" id="{99A48D96-D752-4B11-A550-7D12D198DAD4}"/>
              </a:ext>
            </a:extLst>
          </p:cNvPr>
          <p:cNvSpPr/>
          <p:nvPr/>
        </p:nvSpPr>
        <p:spPr>
          <a:xfrm>
            <a:off x="254309" y="5040491"/>
            <a:ext cx="200376" cy="437236"/>
          </a:xfrm>
          <a:prstGeom prst="rect">
            <a:avLst/>
          </a:prstGeom>
        </p:spPr>
        <p:txBody>
          <a:bodyPr wrap="none" lIns="0" tIns="0" rIns="0" bIns="0" anchor="b" anchorCtr="0">
            <a:spAutoFit/>
          </a:bodyPr>
          <a:lstStyle/>
          <a:p>
            <a:pPr>
              <a:lnSpc>
                <a:spcPct val="110000"/>
              </a:lnSpc>
            </a:pPr>
            <a:r>
              <a:rPr lang="de-DE" sz="2800" b="1" dirty="0">
                <a:solidFill>
                  <a:srgbClr val="004A96"/>
                </a:solidFill>
                <a:latin typeface="Arial" pitchFamily="34" charset="0"/>
              </a:rPr>
              <a:t>6</a:t>
            </a:r>
          </a:p>
        </p:txBody>
      </p:sp>
      <p:sp>
        <p:nvSpPr>
          <p:cNvPr id="35" name="Line 77">
            <a:extLst>
              <a:ext uri="{FF2B5EF4-FFF2-40B4-BE49-F238E27FC236}">
                <a16:creationId xmlns:a16="http://schemas.microsoft.com/office/drawing/2014/main" id="{2C520A07-9A82-4A11-9EDB-849262BE550B}"/>
              </a:ext>
            </a:extLst>
          </p:cNvPr>
          <p:cNvSpPr>
            <a:spLocks noChangeShapeType="1"/>
          </p:cNvSpPr>
          <p:nvPr/>
        </p:nvSpPr>
        <p:spPr bwMode="auto">
          <a:xfrm>
            <a:off x="254309" y="6107457"/>
            <a:ext cx="10368000" cy="0"/>
          </a:xfrm>
          <a:prstGeom prst="line">
            <a:avLst/>
          </a:prstGeom>
          <a:noFill/>
          <a:ln w="12700">
            <a:solidFill>
              <a:srgbClr val="F39500"/>
            </a:solidFill>
            <a:round/>
            <a:headEnd/>
            <a:tailEnd/>
          </a:ln>
          <a:extLst>
            <a:ext uri="{909E8E84-426E-40DD-AFC4-6F175D3DCCD1}">
              <a14:hiddenFill xmlns:a14="http://schemas.microsoft.com/office/drawing/2010/main">
                <a:noFill/>
              </a14:hiddenFill>
            </a:ext>
          </a:extLst>
        </p:spPr>
        <p:txBody>
          <a:bodyPr lIns="0" tIns="0" rIns="0" bIns="0"/>
          <a:lstStyle/>
          <a:p>
            <a:pPr fontAlgn="base">
              <a:spcBef>
                <a:spcPct val="0"/>
              </a:spcBef>
              <a:spcAft>
                <a:spcPct val="0"/>
              </a:spcAft>
            </a:pPr>
            <a:endParaRPr lang="de-DE">
              <a:solidFill>
                <a:srgbClr val="000000"/>
              </a:solidFill>
              <a:latin typeface="Arial" charset="0"/>
              <a:cs typeface="Arial" charset="0"/>
            </a:endParaRPr>
          </a:p>
        </p:txBody>
      </p:sp>
      <p:sp>
        <p:nvSpPr>
          <p:cNvPr id="36" name="Rechteck 29">
            <a:extLst>
              <a:ext uri="{FF2B5EF4-FFF2-40B4-BE49-F238E27FC236}">
                <a16:creationId xmlns:a16="http://schemas.microsoft.com/office/drawing/2014/main" id="{9A8C8874-870C-4DF0-B62F-7C0A26B4C1B2}"/>
              </a:ext>
            </a:extLst>
          </p:cNvPr>
          <p:cNvSpPr/>
          <p:nvPr/>
        </p:nvSpPr>
        <p:spPr>
          <a:xfrm>
            <a:off x="793985" y="5765457"/>
            <a:ext cx="9962272" cy="338554"/>
          </a:xfrm>
          <a:prstGeom prst="rect">
            <a:avLst/>
          </a:prstGeom>
        </p:spPr>
        <p:txBody>
          <a:bodyPr wrap="square" lIns="0" tIns="0" rIns="0" bIns="0" anchor="t" anchorCtr="0">
            <a:spAutoFit/>
          </a:bodyPr>
          <a:lstStyle/>
          <a:p>
            <a:pPr>
              <a:lnSpc>
                <a:spcPct val="110000"/>
              </a:lnSpc>
              <a:tabLst>
                <a:tab pos="7262813" algn="l"/>
                <a:tab pos="8426450" algn="l"/>
              </a:tabLst>
            </a:pPr>
            <a:r>
              <a:rPr lang="de-DE" sz="2000" dirty="0"/>
              <a:t>Experiencia RETC  -  BASF Peruana	Slides 	13 - 17</a:t>
            </a:r>
          </a:p>
        </p:txBody>
      </p:sp>
      <p:sp>
        <p:nvSpPr>
          <p:cNvPr id="37" name="Rechteck 30">
            <a:extLst>
              <a:ext uri="{FF2B5EF4-FFF2-40B4-BE49-F238E27FC236}">
                <a16:creationId xmlns:a16="http://schemas.microsoft.com/office/drawing/2014/main" id="{133284C9-461F-44C2-AB59-EB109134104F}"/>
              </a:ext>
            </a:extLst>
          </p:cNvPr>
          <p:cNvSpPr/>
          <p:nvPr/>
        </p:nvSpPr>
        <p:spPr>
          <a:xfrm>
            <a:off x="254309" y="5700325"/>
            <a:ext cx="200376" cy="437236"/>
          </a:xfrm>
          <a:prstGeom prst="rect">
            <a:avLst/>
          </a:prstGeom>
        </p:spPr>
        <p:txBody>
          <a:bodyPr wrap="none" lIns="0" tIns="0" rIns="0" bIns="0" anchor="b" anchorCtr="0">
            <a:spAutoFit/>
          </a:bodyPr>
          <a:lstStyle/>
          <a:p>
            <a:pPr>
              <a:lnSpc>
                <a:spcPct val="110000"/>
              </a:lnSpc>
            </a:pPr>
            <a:r>
              <a:rPr lang="de-DE" sz="2800" b="1" dirty="0">
                <a:solidFill>
                  <a:srgbClr val="F39500"/>
                </a:solidFill>
                <a:latin typeface="Arial" pitchFamily="34" charset="0"/>
              </a:rPr>
              <a:t>7</a:t>
            </a:r>
          </a:p>
        </p:txBody>
      </p:sp>
      <p:sp>
        <p:nvSpPr>
          <p:cNvPr id="38" name="Line 77">
            <a:extLst>
              <a:ext uri="{FF2B5EF4-FFF2-40B4-BE49-F238E27FC236}">
                <a16:creationId xmlns:a16="http://schemas.microsoft.com/office/drawing/2014/main" id="{946C52CB-B54A-4E23-88D4-6100F976882D}"/>
              </a:ext>
            </a:extLst>
          </p:cNvPr>
          <p:cNvSpPr>
            <a:spLocks noChangeShapeType="1"/>
          </p:cNvSpPr>
          <p:nvPr/>
        </p:nvSpPr>
        <p:spPr bwMode="auto">
          <a:xfrm>
            <a:off x="254309" y="6767291"/>
            <a:ext cx="10368000" cy="0"/>
          </a:xfrm>
          <a:prstGeom prst="line">
            <a:avLst/>
          </a:prstGeom>
          <a:noFill/>
          <a:ln w="12700">
            <a:solidFill>
              <a:srgbClr val="65AC1E"/>
            </a:solidFill>
            <a:round/>
            <a:headEnd/>
            <a:tailEnd/>
          </a:ln>
          <a:extLst>
            <a:ext uri="{909E8E84-426E-40DD-AFC4-6F175D3DCCD1}">
              <a14:hiddenFill xmlns:a14="http://schemas.microsoft.com/office/drawing/2010/main">
                <a:noFill/>
              </a14:hiddenFill>
            </a:ext>
          </a:extLst>
        </p:spPr>
        <p:txBody>
          <a:bodyPr lIns="0" tIns="0" rIns="0" bIns="0"/>
          <a:lstStyle/>
          <a:p>
            <a:pPr fontAlgn="base">
              <a:spcBef>
                <a:spcPct val="0"/>
              </a:spcBef>
              <a:spcAft>
                <a:spcPct val="0"/>
              </a:spcAft>
            </a:pPr>
            <a:endParaRPr lang="de-DE">
              <a:solidFill>
                <a:srgbClr val="000000"/>
              </a:solidFill>
              <a:latin typeface="Arial" charset="0"/>
              <a:cs typeface="Arial" charset="0"/>
            </a:endParaRPr>
          </a:p>
        </p:txBody>
      </p:sp>
      <p:sp>
        <p:nvSpPr>
          <p:cNvPr id="39" name="Rechteck 32">
            <a:extLst>
              <a:ext uri="{FF2B5EF4-FFF2-40B4-BE49-F238E27FC236}">
                <a16:creationId xmlns:a16="http://schemas.microsoft.com/office/drawing/2014/main" id="{B5810A82-5BC8-4394-BFC8-35D21EAB76CE}"/>
              </a:ext>
            </a:extLst>
          </p:cNvPr>
          <p:cNvSpPr/>
          <p:nvPr/>
        </p:nvSpPr>
        <p:spPr>
          <a:xfrm>
            <a:off x="793985" y="6425291"/>
            <a:ext cx="9962272" cy="338554"/>
          </a:xfrm>
          <a:prstGeom prst="rect">
            <a:avLst/>
          </a:prstGeom>
        </p:spPr>
        <p:txBody>
          <a:bodyPr wrap="square" lIns="0" tIns="0" rIns="0" bIns="0" anchor="t" anchorCtr="0">
            <a:spAutoFit/>
          </a:bodyPr>
          <a:lstStyle/>
          <a:p>
            <a:pPr>
              <a:lnSpc>
                <a:spcPct val="110000"/>
              </a:lnSpc>
              <a:tabLst>
                <a:tab pos="7262813" algn="l"/>
                <a:tab pos="8426450" algn="l"/>
              </a:tabLst>
            </a:pPr>
            <a:r>
              <a:rPr lang="en-US" sz="2000" dirty="0" err="1"/>
              <a:t>Conclusiones</a:t>
            </a:r>
            <a:r>
              <a:rPr lang="en-US" sz="2000" dirty="0"/>
              <a:t> 	Slide 	18</a:t>
            </a:r>
          </a:p>
        </p:txBody>
      </p:sp>
      <p:sp>
        <p:nvSpPr>
          <p:cNvPr id="40" name="Rechteck 33">
            <a:extLst>
              <a:ext uri="{FF2B5EF4-FFF2-40B4-BE49-F238E27FC236}">
                <a16:creationId xmlns:a16="http://schemas.microsoft.com/office/drawing/2014/main" id="{6651CCAB-4548-4600-84AE-BA450F68A1CC}"/>
              </a:ext>
            </a:extLst>
          </p:cNvPr>
          <p:cNvSpPr/>
          <p:nvPr/>
        </p:nvSpPr>
        <p:spPr>
          <a:xfrm>
            <a:off x="254309" y="6360159"/>
            <a:ext cx="200376" cy="437236"/>
          </a:xfrm>
          <a:prstGeom prst="rect">
            <a:avLst/>
          </a:prstGeom>
        </p:spPr>
        <p:txBody>
          <a:bodyPr wrap="none" lIns="0" tIns="0" rIns="0" bIns="0" anchor="b" anchorCtr="0">
            <a:spAutoFit/>
          </a:bodyPr>
          <a:lstStyle/>
          <a:p>
            <a:pPr>
              <a:lnSpc>
                <a:spcPct val="110000"/>
              </a:lnSpc>
            </a:pPr>
            <a:r>
              <a:rPr lang="de-DE" sz="2800" b="1" dirty="0">
                <a:solidFill>
                  <a:srgbClr val="65AC1E"/>
                </a:solidFill>
                <a:latin typeface="Arial" charset="0"/>
                <a:cs typeface="Arial"/>
              </a:rPr>
              <a:t>8</a:t>
            </a:r>
            <a:endParaRPr lang="de-DE" sz="2800" b="1" dirty="0">
              <a:solidFill>
                <a:srgbClr val="65AC1E"/>
              </a:solidFill>
              <a:latin typeface="Arial" pitchFamily="34" charset="0"/>
            </a:endParaRPr>
          </a:p>
        </p:txBody>
      </p:sp>
    </p:spTree>
    <p:extLst>
      <p:ext uri="{BB962C8B-B14F-4D97-AF65-F5344CB8AC3E}">
        <p14:creationId xmlns:p14="http://schemas.microsoft.com/office/powerpoint/2010/main" val="80869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rotWithShape="1">
          <a:blip r:embed="rId5">
            <a:extLst>
              <a:ext uri="{28A0092B-C50C-407E-A947-70E740481C1C}">
                <a14:useLocalDpi xmlns:a14="http://schemas.microsoft.com/office/drawing/2010/main"/>
              </a:ext>
            </a:extLst>
          </a:blip>
          <a:srcRect t="20323" r="11045" b="4634"/>
          <a:stretch/>
        </p:blipFill>
        <p:spPr>
          <a:xfrm>
            <a:off x="0" y="0"/>
            <a:ext cx="12189600" cy="6858000"/>
          </a:xfrm>
          <a:prstGeom prst="rect">
            <a:avLst/>
          </a:prstGeom>
        </p:spPr>
      </p:pic>
      <p:graphicFrame>
        <p:nvGraphicFramePr>
          <p:cNvPr id="2" name="Objekt 1" hidden="1"/>
          <p:cNvGraphicFramePr>
            <a:graphicFrameLocks noChangeAspect="1"/>
          </p:cNvGraphicFramePr>
          <p:nvPr>
            <p:custDataLst>
              <p:tags r:id="rId2"/>
            </p:custDataLst>
            <p:extLst/>
          </p:nvPr>
        </p:nvGraphicFramePr>
        <p:xfrm>
          <a:off x="1523206" y="0"/>
          <a:ext cx="158750" cy="158750"/>
        </p:xfrm>
        <a:graphic>
          <a:graphicData uri="http://schemas.openxmlformats.org/presentationml/2006/ole">
            <mc:AlternateContent xmlns:mc="http://schemas.openxmlformats.org/markup-compatibility/2006">
              <mc:Choice xmlns:v="urn:schemas-microsoft-com:vml" Requires="v">
                <p:oleObj spid="_x0000_s68640" name="think-cell Folie" r:id="rId6" imgW="270" imgH="270" progId="TCLayout.ActiveDocument.1">
                  <p:embed/>
                </p:oleObj>
              </mc:Choice>
              <mc:Fallback>
                <p:oleObj name="think-cell Folie" r:id="rId6" imgW="270" imgH="270" progId="TCLayout.ActiveDocument.1">
                  <p:embed/>
                  <p:pic>
                    <p:nvPicPr>
                      <p:cNvPr id="2" name="Objekt 1" hidden="1"/>
                      <p:cNvPicPr/>
                      <p:nvPr/>
                    </p:nvPicPr>
                    <p:blipFill>
                      <a:blip r:embed="rId7"/>
                      <a:stretch>
                        <a:fillRect/>
                      </a:stretch>
                    </p:blipFill>
                    <p:spPr>
                      <a:xfrm>
                        <a:off x="1523206" y="0"/>
                        <a:ext cx="158750" cy="158750"/>
                      </a:xfrm>
                      <a:prstGeom prst="rect">
                        <a:avLst/>
                      </a:prstGeom>
                    </p:spPr>
                  </p:pic>
                </p:oleObj>
              </mc:Fallback>
            </mc:AlternateContent>
          </a:graphicData>
        </a:graphic>
      </p:graphicFrame>
      <p:sp>
        <p:nvSpPr>
          <p:cNvPr id="3" name="Titel 2"/>
          <p:cNvSpPr>
            <a:spLocks noGrp="1"/>
          </p:cNvSpPr>
          <p:nvPr>
            <p:ph type="ctrTitle"/>
          </p:nvPr>
        </p:nvSpPr>
        <p:spPr>
          <a:xfrm>
            <a:off x="262558" y="4545124"/>
            <a:ext cx="9756775" cy="954000"/>
          </a:xfrm>
        </p:spPr>
        <p:txBody>
          <a:bodyPr/>
          <a:lstStyle/>
          <a:p>
            <a:r>
              <a:rPr lang="en-US" dirty="0">
                <a:solidFill>
                  <a:schemeClr val="bg1"/>
                </a:solidFill>
              </a:rPr>
              <a:t>BASF – We create chemistry</a:t>
            </a:r>
          </a:p>
        </p:txBody>
      </p:sp>
      <p:sp>
        <p:nvSpPr>
          <p:cNvPr id="4" name="Untertitel 3"/>
          <p:cNvSpPr>
            <a:spLocks noGrp="1"/>
          </p:cNvSpPr>
          <p:nvPr>
            <p:ph type="subTitle" idx="1"/>
          </p:nvPr>
        </p:nvSpPr>
        <p:spPr>
          <a:xfrm>
            <a:off x="1378682" y="6309320"/>
            <a:ext cx="1901181" cy="432000"/>
          </a:xfrm>
        </p:spPr>
        <p:txBody>
          <a:bodyPr/>
          <a:lstStyle/>
          <a:p>
            <a:r>
              <a:rPr lang="en-US" dirty="0">
                <a:solidFill>
                  <a:schemeClr val="bg1"/>
                </a:solidFill>
              </a:rPr>
              <a:t>Ludwigshafen</a:t>
            </a:r>
          </a:p>
        </p:txBody>
      </p:sp>
    </p:spTree>
    <p:extLst>
      <p:ext uri="{BB962C8B-B14F-4D97-AF65-F5344CB8AC3E}">
        <p14:creationId xmlns:p14="http://schemas.microsoft.com/office/powerpoint/2010/main" val="204906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109D80F-C49C-4E1E-AACA-872A31186FFF}"/>
              </a:ext>
            </a:extLst>
          </p:cNvPr>
          <p:cNvSpPr>
            <a:spLocks noGrp="1"/>
          </p:cNvSpPr>
          <p:nvPr>
            <p:ph type="title"/>
          </p:nvPr>
        </p:nvSpPr>
        <p:spPr/>
        <p:txBody>
          <a:bodyPr/>
          <a:lstStyle/>
          <a:p>
            <a:r>
              <a:rPr lang="es-PE" dirty="0"/>
              <a:t>BASF en América del Sur </a:t>
            </a:r>
          </a:p>
        </p:txBody>
      </p:sp>
      <p:sp>
        <p:nvSpPr>
          <p:cNvPr id="4" name="Marcador de número de diapositiva 3">
            <a:extLst>
              <a:ext uri="{FF2B5EF4-FFF2-40B4-BE49-F238E27FC236}">
                <a16:creationId xmlns:a16="http://schemas.microsoft.com/office/drawing/2014/main" id="{4A26EC1D-3868-4F29-9F88-1ABE3878C902}"/>
              </a:ext>
            </a:extLst>
          </p:cNvPr>
          <p:cNvSpPr>
            <a:spLocks noGrp="1"/>
          </p:cNvSpPr>
          <p:nvPr>
            <p:ph type="sldNum" sz="quarter" idx="10"/>
          </p:nvPr>
        </p:nvSpPr>
        <p:spPr/>
        <p:txBody>
          <a:bodyPr/>
          <a:lstStyle/>
          <a:p>
            <a:fld id="{9ED39FAB-3417-4E61-A69A-10C0CE33FFC4}" type="slidenum">
              <a:rPr lang="de-DE" smtClean="0"/>
              <a:pPr/>
              <a:t>4</a:t>
            </a:fld>
            <a:endParaRPr lang="de-DE"/>
          </a:p>
        </p:txBody>
      </p:sp>
      <p:pic>
        <p:nvPicPr>
          <p:cNvPr id="5" name="Picture 3">
            <a:extLst>
              <a:ext uri="{FF2B5EF4-FFF2-40B4-BE49-F238E27FC236}">
                <a16:creationId xmlns:a16="http://schemas.microsoft.com/office/drawing/2014/main" id="{8A66817D-AEC8-4A4A-994B-B82A5D82095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3365" t="-136" r="26016" b="136"/>
          <a:stretch/>
        </p:blipFill>
        <p:spPr>
          <a:xfrm>
            <a:off x="1523207" y="1648038"/>
            <a:ext cx="4572509" cy="5028630"/>
          </a:xfrm>
          <a:prstGeom prst="rect">
            <a:avLst/>
          </a:prstGeom>
        </p:spPr>
      </p:pic>
      <p:sp>
        <p:nvSpPr>
          <p:cNvPr id="6" name="Text Box 5">
            <a:extLst>
              <a:ext uri="{FF2B5EF4-FFF2-40B4-BE49-F238E27FC236}">
                <a16:creationId xmlns:a16="http://schemas.microsoft.com/office/drawing/2014/main" id="{39393C9F-CC2A-40C5-8FB7-E939920DDD02}"/>
              </a:ext>
            </a:extLst>
          </p:cNvPr>
          <p:cNvSpPr txBox="1">
            <a:spLocks noChangeArrowheads="1"/>
          </p:cNvSpPr>
          <p:nvPr/>
        </p:nvSpPr>
        <p:spPr bwMode="auto">
          <a:xfrm>
            <a:off x="7375277" y="1698340"/>
            <a:ext cx="3048000" cy="867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lnSpc>
                <a:spcPct val="90000"/>
              </a:lnSpc>
              <a:defRPr/>
            </a:pPr>
            <a:r>
              <a:rPr lang="en-US" sz="1600" kern="0" dirty="0" err="1">
                <a:solidFill>
                  <a:prstClr val="black"/>
                </a:solidFill>
              </a:rPr>
              <a:t>Alrededor</a:t>
            </a:r>
            <a:r>
              <a:rPr lang="en-US" sz="1600" kern="0" dirty="0">
                <a:solidFill>
                  <a:prstClr val="black"/>
                </a:solidFill>
              </a:rPr>
              <a:t> </a:t>
            </a:r>
            <a:br>
              <a:rPr lang="en-US" sz="2400" kern="0" dirty="0">
                <a:solidFill>
                  <a:prstClr val="black"/>
                </a:solidFill>
              </a:rPr>
            </a:br>
            <a:r>
              <a:rPr lang="en-US" sz="2400" b="1" kern="0" dirty="0">
                <a:solidFill>
                  <a:srgbClr val="004896"/>
                </a:solidFill>
              </a:rPr>
              <a:t>5,600 </a:t>
            </a:r>
            <a:r>
              <a:rPr lang="en-US" sz="2400" b="1" kern="0" dirty="0" err="1">
                <a:solidFill>
                  <a:srgbClr val="004896"/>
                </a:solidFill>
              </a:rPr>
              <a:t>empleados</a:t>
            </a:r>
            <a:endParaRPr lang="en-US" sz="2400" b="1" kern="0" dirty="0">
              <a:solidFill>
                <a:srgbClr val="004896"/>
              </a:solidFill>
            </a:endParaRPr>
          </a:p>
          <a:p>
            <a:pPr eaLnBrk="1" hangingPunct="1">
              <a:lnSpc>
                <a:spcPct val="90000"/>
              </a:lnSpc>
              <a:defRPr/>
            </a:pPr>
            <a:r>
              <a:rPr lang="en-US" sz="1600" kern="0" dirty="0" err="1">
                <a:solidFill>
                  <a:prstClr val="black"/>
                </a:solidFill>
              </a:rPr>
              <a:t>en</a:t>
            </a:r>
            <a:r>
              <a:rPr lang="en-US" sz="1600" kern="0" dirty="0">
                <a:solidFill>
                  <a:prstClr val="black"/>
                </a:solidFill>
              </a:rPr>
              <a:t> la region de sur America</a:t>
            </a:r>
          </a:p>
        </p:txBody>
      </p:sp>
      <p:sp>
        <p:nvSpPr>
          <p:cNvPr id="7" name="Text Box 12">
            <a:extLst>
              <a:ext uri="{FF2B5EF4-FFF2-40B4-BE49-F238E27FC236}">
                <a16:creationId xmlns:a16="http://schemas.microsoft.com/office/drawing/2014/main" id="{B9FCF2A0-D016-4DA7-9A98-BFE7A27B07AE}"/>
              </a:ext>
            </a:extLst>
          </p:cNvPr>
          <p:cNvSpPr txBox="1">
            <a:spLocks noChangeArrowheads="1"/>
          </p:cNvSpPr>
          <p:nvPr/>
        </p:nvSpPr>
        <p:spPr bwMode="auto">
          <a:xfrm>
            <a:off x="7375276" y="4334257"/>
            <a:ext cx="306362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lnSpc>
                <a:spcPct val="90000"/>
              </a:lnSpc>
              <a:spcBef>
                <a:spcPct val="40000"/>
              </a:spcBef>
              <a:defRPr/>
            </a:pPr>
            <a:r>
              <a:rPr lang="en-US" sz="1600" kern="0" dirty="0">
                <a:solidFill>
                  <a:prstClr val="black"/>
                </a:solidFill>
              </a:rPr>
              <a:t>Regional sitios de </a:t>
            </a:r>
            <a:r>
              <a:rPr lang="en-US" sz="1600" kern="0" dirty="0" err="1">
                <a:solidFill>
                  <a:prstClr val="black"/>
                </a:solidFill>
              </a:rPr>
              <a:t>producción</a:t>
            </a:r>
            <a:r>
              <a:rPr lang="en-US" sz="1600" kern="0" dirty="0">
                <a:solidFill>
                  <a:prstClr val="black"/>
                </a:solidFill>
              </a:rPr>
              <a:t>: </a:t>
            </a:r>
            <a:br>
              <a:rPr lang="en-US" sz="1800" kern="0" dirty="0">
                <a:solidFill>
                  <a:prstClr val="black"/>
                </a:solidFill>
              </a:rPr>
            </a:br>
            <a:r>
              <a:rPr lang="en-US" sz="2400" b="1" kern="0" dirty="0">
                <a:solidFill>
                  <a:srgbClr val="004896"/>
                </a:solidFill>
              </a:rPr>
              <a:t>18 </a:t>
            </a:r>
            <a:r>
              <a:rPr lang="en-US" sz="1600" kern="0" dirty="0">
                <a:solidFill>
                  <a:prstClr val="black"/>
                </a:solidFill>
              </a:rPr>
              <a:t>(9 de </a:t>
            </a:r>
            <a:r>
              <a:rPr lang="en-US" sz="1600" kern="0" dirty="0" err="1">
                <a:solidFill>
                  <a:prstClr val="black"/>
                </a:solidFill>
              </a:rPr>
              <a:t>estas</a:t>
            </a:r>
            <a:r>
              <a:rPr lang="en-US" sz="1600" kern="0" dirty="0">
                <a:solidFill>
                  <a:prstClr val="black"/>
                </a:solidFill>
              </a:rPr>
              <a:t> </a:t>
            </a:r>
            <a:r>
              <a:rPr lang="en-US" sz="1600" kern="0" dirty="0" err="1">
                <a:solidFill>
                  <a:prstClr val="black"/>
                </a:solidFill>
              </a:rPr>
              <a:t>en</a:t>
            </a:r>
            <a:r>
              <a:rPr lang="en-US" sz="1600" kern="0" dirty="0">
                <a:solidFill>
                  <a:prstClr val="black"/>
                </a:solidFill>
              </a:rPr>
              <a:t> </a:t>
            </a:r>
            <a:r>
              <a:rPr lang="en-US" sz="1600" kern="0" dirty="0" err="1">
                <a:solidFill>
                  <a:prstClr val="black"/>
                </a:solidFill>
              </a:rPr>
              <a:t>Brasil</a:t>
            </a:r>
            <a:r>
              <a:rPr lang="en-US" sz="1600" kern="0" dirty="0">
                <a:solidFill>
                  <a:prstClr val="black"/>
                </a:solidFill>
              </a:rPr>
              <a:t> )</a:t>
            </a:r>
            <a:endParaRPr lang="en-GB" sz="1600" kern="0" dirty="0">
              <a:solidFill>
                <a:prstClr val="black"/>
              </a:solidFill>
            </a:endParaRPr>
          </a:p>
        </p:txBody>
      </p:sp>
      <p:sp>
        <p:nvSpPr>
          <p:cNvPr id="8" name="Text Box 5">
            <a:extLst>
              <a:ext uri="{FF2B5EF4-FFF2-40B4-BE49-F238E27FC236}">
                <a16:creationId xmlns:a16="http://schemas.microsoft.com/office/drawing/2014/main" id="{886B02B8-738B-4F10-9BDC-892AE4A6D9E7}"/>
              </a:ext>
            </a:extLst>
          </p:cNvPr>
          <p:cNvSpPr txBox="1">
            <a:spLocks noChangeArrowheads="1"/>
          </p:cNvSpPr>
          <p:nvPr/>
        </p:nvSpPr>
        <p:spPr bwMode="auto">
          <a:xfrm>
            <a:off x="7390900" y="2972177"/>
            <a:ext cx="3048000" cy="867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eaLnBrk="1" hangingPunct="1">
              <a:lnSpc>
                <a:spcPct val="90000"/>
              </a:lnSpc>
              <a:defRPr/>
            </a:pPr>
            <a:r>
              <a:rPr lang="en-US" sz="1600" kern="0" dirty="0">
                <a:solidFill>
                  <a:prstClr val="black"/>
                </a:solidFill>
              </a:rPr>
              <a:t>Mas de</a:t>
            </a:r>
          </a:p>
          <a:p>
            <a:pPr eaLnBrk="1" hangingPunct="1">
              <a:lnSpc>
                <a:spcPct val="90000"/>
              </a:lnSpc>
              <a:defRPr/>
            </a:pPr>
            <a:r>
              <a:rPr lang="en-US" sz="2400" b="1" kern="0" dirty="0">
                <a:solidFill>
                  <a:srgbClr val="004896"/>
                </a:solidFill>
              </a:rPr>
              <a:t>3,900 </a:t>
            </a:r>
            <a:r>
              <a:rPr lang="en-US" sz="2400" b="1" kern="0" dirty="0" err="1">
                <a:solidFill>
                  <a:srgbClr val="004896"/>
                </a:solidFill>
              </a:rPr>
              <a:t>empleados</a:t>
            </a:r>
            <a:endParaRPr lang="en-US" sz="2400" b="1" kern="0" dirty="0">
              <a:solidFill>
                <a:srgbClr val="004896"/>
              </a:solidFill>
            </a:endParaRPr>
          </a:p>
          <a:p>
            <a:pPr eaLnBrk="1" hangingPunct="1">
              <a:lnSpc>
                <a:spcPct val="90000"/>
              </a:lnSpc>
              <a:defRPr/>
            </a:pPr>
            <a:r>
              <a:rPr lang="en-US" sz="1600" kern="0" dirty="0" err="1">
                <a:solidFill>
                  <a:prstClr val="black"/>
                </a:solidFill>
              </a:rPr>
              <a:t>en</a:t>
            </a:r>
            <a:r>
              <a:rPr lang="en-US" sz="1600" kern="0" dirty="0">
                <a:solidFill>
                  <a:prstClr val="black"/>
                </a:solidFill>
              </a:rPr>
              <a:t> </a:t>
            </a:r>
            <a:r>
              <a:rPr lang="en-US" sz="1600" kern="0" dirty="0" err="1">
                <a:solidFill>
                  <a:prstClr val="black"/>
                </a:solidFill>
              </a:rPr>
              <a:t>Brasil</a:t>
            </a:r>
            <a:endParaRPr lang="en-US" sz="1600" kern="0" dirty="0">
              <a:solidFill>
                <a:prstClr val="black"/>
              </a:solidFill>
            </a:endParaRPr>
          </a:p>
        </p:txBody>
      </p:sp>
      <p:cxnSp>
        <p:nvCxnSpPr>
          <p:cNvPr id="9" name="Conector reto 579">
            <a:extLst>
              <a:ext uri="{FF2B5EF4-FFF2-40B4-BE49-F238E27FC236}">
                <a16:creationId xmlns:a16="http://schemas.microsoft.com/office/drawing/2014/main" id="{9F1F28B0-ECFE-4D3A-BAE1-F58D40FDD9CF}"/>
              </a:ext>
            </a:extLst>
          </p:cNvPr>
          <p:cNvCxnSpPr/>
          <p:nvPr/>
        </p:nvCxnSpPr>
        <p:spPr>
          <a:xfrm>
            <a:off x="7390900" y="2772558"/>
            <a:ext cx="30323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Conector reto 581">
            <a:extLst>
              <a:ext uri="{FF2B5EF4-FFF2-40B4-BE49-F238E27FC236}">
                <a16:creationId xmlns:a16="http://schemas.microsoft.com/office/drawing/2014/main" id="{E3CB5BC7-90AC-4D30-BD20-446D22797BC8}"/>
              </a:ext>
            </a:extLst>
          </p:cNvPr>
          <p:cNvCxnSpPr/>
          <p:nvPr/>
        </p:nvCxnSpPr>
        <p:spPr>
          <a:xfrm>
            <a:off x="7390900" y="4029134"/>
            <a:ext cx="30323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Conector reto 583">
            <a:extLst>
              <a:ext uri="{FF2B5EF4-FFF2-40B4-BE49-F238E27FC236}">
                <a16:creationId xmlns:a16="http://schemas.microsoft.com/office/drawing/2014/main" id="{259A85BE-1B64-4FF9-A663-DC4178D4D9E0}"/>
              </a:ext>
            </a:extLst>
          </p:cNvPr>
          <p:cNvCxnSpPr/>
          <p:nvPr/>
        </p:nvCxnSpPr>
        <p:spPr>
          <a:xfrm>
            <a:off x="7390900" y="5285710"/>
            <a:ext cx="303237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tângulo 608">
            <a:extLst>
              <a:ext uri="{FF2B5EF4-FFF2-40B4-BE49-F238E27FC236}">
                <a16:creationId xmlns:a16="http://schemas.microsoft.com/office/drawing/2014/main" id="{497621F6-5C6D-4391-AFEF-2FF05BAD9F1C}"/>
              </a:ext>
            </a:extLst>
          </p:cNvPr>
          <p:cNvSpPr/>
          <p:nvPr/>
        </p:nvSpPr>
        <p:spPr>
          <a:xfrm>
            <a:off x="7123881" y="5474738"/>
            <a:ext cx="2855752" cy="1138773"/>
          </a:xfrm>
          <a:prstGeom prst="rect">
            <a:avLst/>
          </a:prstGeom>
        </p:spPr>
        <p:txBody>
          <a:bodyPr wrap="square">
            <a:spAutoFit/>
          </a:bodyPr>
          <a:lstStyle/>
          <a:p>
            <a:pPr algn="ctr">
              <a:lnSpc>
                <a:spcPct val="85000"/>
              </a:lnSpc>
              <a:spcBef>
                <a:spcPts val="200"/>
              </a:spcBef>
              <a:spcAft>
                <a:spcPts val="200"/>
              </a:spcAft>
              <a:defRPr/>
            </a:pPr>
            <a:r>
              <a:rPr lang="es-PE" sz="1600" kern="0" dirty="0">
                <a:solidFill>
                  <a:prstClr val="black"/>
                </a:solidFill>
                <a:latin typeface="Arial" charset="0"/>
                <a:cs typeface="Arial" charset="0"/>
              </a:rPr>
              <a:t>Combinamos el éxito económico, la responsabilidad social y la protección del medio ambiente</a:t>
            </a:r>
            <a:endParaRPr lang="en-US" sz="1600" kern="0" dirty="0">
              <a:solidFill>
                <a:prstClr val="black"/>
              </a:solidFill>
              <a:latin typeface="Arial" charset="0"/>
              <a:cs typeface="Arial" charset="0"/>
            </a:endParaRPr>
          </a:p>
        </p:txBody>
      </p:sp>
      <p:sp>
        <p:nvSpPr>
          <p:cNvPr id="13" name="Retângulo 19">
            <a:extLst>
              <a:ext uri="{FF2B5EF4-FFF2-40B4-BE49-F238E27FC236}">
                <a16:creationId xmlns:a16="http://schemas.microsoft.com/office/drawing/2014/main" id="{FED505B2-621D-433F-8C5E-B4CC7D3633F1}"/>
              </a:ext>
            </a:extLst>
          </p:cNvPr>
          <p:cNvSpPr/>
          <p:nvPr/>
        </p:nvSpPr>
        <p:spPr>
          <a:xfrm>
            <a:off x="1612211" y="1830272"/>
            <a:ext cx="3714415" cy="830997"/>
          </a:xfrm>
          <a:prstGeom prst="rect">
            <a:avLst/>
          </a:prstGeom>
        </p:spPr>
        <p:txBody>
          <a:bodyPr wrap="none">
            <a:spAutoFit/>
          </a:bodyPr>
          <a:lstStyle/>
          <a:p>
            <a:pPr>
              <a:lnSpc>
                <a:spcPct val="75000"/>
              </a:lnSpc>
              <a:defRPr/>
            </a:pPr>
            <a:r>
              <a:rPr lang="en-US" sz="3600" b="1" kern="0" dirty="0">
                <a:solidFill>
                  <a:prstClr val="white"/>
                </a:solidFill>
                <a:latin typeface="Arial"/>
                <a:cs typeface="Arial"/>
              </a:rPr>
              <a:t>BASF </a:t>
            </a:r>
            <a:br>
              <a:rPr lang="en-US" sz="3200" b="1" kern="0" dirty="0">
                <a:solidFill>
                  <a:prstClr val="white"/>
                </a:solidFill>
                <a:latin typeface="Arial"/>
                <a:cs typeface="Arial"/>
              </a:rPr>
            </a:br>
            <a:r>
              <a:rPr lang="en-US" sz="2800" kern="0" dirty="0">
                <a:solidFill>
                  <a:prstClr val="white"/>
                </a:solidFill>
                <a:latin typeface="Arial"/>
                <a:cs typeface="Arial"/>
              </a:rPr>
              <a:t>We Create Chemistry </a:t>
            </a:r>
            <a:endParaRPr lang="en-US" sz="3200" kern="0" dirty="0">
              <a:solidFill>
                <a:prstClr val="white"/>
              </a:solidFill>
              <a:latin typeface="Calibri" pitchFamily="34" charset="0"/>
              <a:cs typeface="Arial" pitchFamily="34" charset="0"/>
            </a:endParaRPr>
          </a:p>
        </p:txBody>
      </p:sp>
      <p:sp>
        <p:nvSpPr>
          <p:cNvPr id="14" name="CaixaDeTexto 48">
            <a:extLst>
              <a:ext uri="{FF2B5EF4-FFF2-40B4-BE49-F238E27FC236}">
                <a16:creationId xmlns:a16="http://schemas.microsoft.com/office/drawing/2014/main" id="{4A0675D9-C36A-4301-988B-CD9787F47BE1}"/>
              </a:ext>
            </a:extLst>
          </p:cNvPr>
          <p:cNvSpPr txBox="1"/>
          <p:nvPr/>
        </p:nvSpPr>
        <p:spPr bwMode="auto">
          <a:xfrm>
            <a:off x="1739105" y="6685358"/>
            <a:ext cx="422551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b" anchorCtr="0" compatLnSpc="1">
            <a:prstTxWarp prst="textNoShape">
              <a:avLst/>
            </a:prstTxWarp>
            <a:spAutoFit/>
          </a:bodyPr>
          <a:lstStyle/>
          <a:p>
            <a:pPr>
              <a:spcBef>
                <a:spcPct val="50000"/>
              </a:spcBef>
              <a:defRPr/>
            </a:pPr>
            <a:r>
              <a:rPr lang="en-US" sz="900" kern="0" dirty="0">
                <a:solidFill>
                  <a:sysClr val="windowText" lastClr="000000"/>
                </a:solidFill>
                <a:latin typeface="Arial" panose="020B0604020202020204" pitchFamily="34" charset="0"/>
                <a:cs typeface="Arial" pitchFamily="34" charset="0"/>
                <a:sym typeface="Arial" panose="020B0604020202020204" pitchFamily="34" charset="0"/>
              </a:rPr>
              <a:t>Source: Data December 2016; net Sales Market View; employees status Dec/2016</a:t>
            </a:r>
          </a:p>
        </p:txBody>
      </p:sp>
    </p:spTree>
    <p:extLst>
      <p:ext uri="{BB962C8B-B14F-4D97-AF65-F5344CB8AC3E}">
        <p14:creationId xmlns:p14="http://schemas.microsoft.com/office/powerpoint/2010/main" val="2577937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6FA6B74-CF44-4278-8233-61A75A0428A5}"/>
              </a:ext>
            </a:extLst>
          </p:cNvPr>
          <p:cNvSpPr>
            <a:spLocks noGrp="1"/>
          </p:cNvSpPr>
          <p:nvPr>
            <p:ph type="title"/>
          </p:nvPr>
        </p:nvSpPr>
        <p:spPr/>
        <p:txBody>
          <a:bodyPr/>
          <a:lstStyle/>
          <a:p>
            <a:r>
              <a:rPr lang="es-PE" dirty="0"/>
              <a:t>Sitios de producción y oficinas de ventas Sudamérica</a:t>
            </a:r>
          </a:p>
        </p:txBody>
      </p:sp>
      <p:sp>
        <p:nvSpPr>
          <p:cNvPr id="4" name="Marcador de número de diapositiva 3">
            <a:extLst>
              <a:ext uri="{FF2B5EF4-FFF2-40B4-BE49-F238E27FC236}">
                <a16:creationId xmlns:a16="http://schemas.microsoft.com/office/drawing/2014/main" id="{B48341AB-53FD-4725-87D4-E4982A8E6F79}"/>
              </a:ext>
            </a:extLst>
          </p:cNvPr>
          <p:cNvSpPr>
            <a:spLocks noGrp="1"/>
          </p:cNvSpPr>
          <p:nvPr>
            <p:ph type="sldNum" sz="quarter" idx="10"/>
          </p:nvPr>
        </p:nvSpPr>
        <p:spPr/>
        <p:txBody>
          <a:bodyPr/>
          <a:lstStyle/>
          <a:p>
            <a:fld id="{9ED39FAB-3417-4E61-A69A-10C0CE33FFC4}" type="slidenum">
              <a:rPr lang="de-DE" smtClean="0"/>
              <a:pPr/>
              <a:t>5</a:t>
            </a:fld>
            <a:endParaRPr lang="de-DE"/>
          </a:p>
        </p:txBody>
      </p:sp>
      <p:sp>
        <p:nvSpPr>
          <p:cNvPr id="204" name="Retângulo 223">
            <a:extLst>
              <a:ext uri="{FF2B5EF4-FFF2-40B4-BE49-F238E27FC236}">
                <a16:creationId xmlns:a16="http://schemas.microsoft.com/office/drawing/2014/main" id="{1C2CB12E-8B62-4C52-93F6-3404B36F825E}"/>
              </a:ext>
            </a:extLst>
          </p:cNvPr>
          <p:cNvSpPr/>
          <p:nvPr/>
        </p:nvSpPr>
        <p:spPr>
          <a:xfrm>
            <a:off x="1702595" y="1773631"/>
            <a:ext cx="8785225" cy="4925977"/>
          </a:xfrm>
          <a:prstGeom prst="rect">
            <a:avLst/>
          </a:prstGeom>
          <a:pattFill prst="lgGrid">
            <a:fgClr>
              <a:srgbClr val="E4E4E4"/>
            </a:fgClr>
            <a:bgClr>
              <a:schemeClr val="bg1"/>
            </a:bgClr>
          </a:patt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205" name="Retângulo 12">
            <a:extLst>
              <a:ext uri="{FF2B5EF4-FFF2-40B4-BE49-F238E27FC236}">
                <a16:creationId xmlns:a16="http://schemas.microsoft.com/office/drawing/2014/main" id="{B43B5691-E40F-412E-9351-76394FC93BFF}"/>
              </a:ext>
            </a:extLst>
          </p:cNvPr>
          <p:cNvSpPr/>
          <p:nvPr/>
        </p:nvSpPr>
        <p:spPr bwMode="auto">
          <a:xfrm>
            <a:off x="1962118" y="6121098"/>
            <a:ext cx="2203704" cy="436499"/>
          </a:xfrm>
          <a:prstGeom prst="rect">
            <a:avLst/>
          </a:prstGeom>
          <a:noFill/>
          <a:ln w="9525" cap="flat" cmpd="sng" algn="ctr">
            <a:solidFill>
              <a:schemeClr val="tx1">
                <a:lumMod val="75000"/>
                <a:lumOff val="25000"/>
              </a:schemeClr>
            </a:solidFill>
            <a:prstDash val="solid"/>
            <a:round/>
            <a:headEnd type="none" w="med" len="med"/>
            <a:tailEnd type="none" w="med" len="med"/>
          </a:ln>
          <a:effectLst>
            <a:outerShdw blurRad="127000" dist="25400" dir="7200000" sx="101000" sy="101000" algn="tl" rotWithShape="0">
              <a:srgbClr val="BCC8D1"/>
            </a:outerShdw>
          </a:effectLst>
        </p:spPr>
        <p:txBody>
          <a:bodyPr lIns="0" tIns="0" rIns="0" bIns="0"/>
          <a:lstStyle/>
          <a:p>
            <a:pPr fontAlgn="base">
              <a:spcBef>
                <a:spcPct val="0"/>
              </a:spcBef>
              <a:spcAft>
                <a:spcPct val="0"/>
              </a:spcAft>
              <a:defRPr/>
            </a:pPr>
            <a:endParaRPr lang="en-US" kern="0">
              <a:solidFill>
                <a:prstClr val="black"/>
              </a:solidFill>
              <a:latin typeface="Calibri" pitchFamily="34" charset="0"/>
              <a:cs typeface="Arial" pitchFamily="34" charset="0"/>
            </a:endParaRPr>
          </a:p>
        </p:txBody>
      </p:sp>
      <p:grpSp>
        <p:nvGrpSpPr>
          <p:cNvPr id="206" name="Grupo 205">
            <a:extLst>
              <a:ext uri="{FF2B5EF4-FFF2-40B4-BE49-F238E27FC236}">
                <a16:creationId xmlns:a16="http://schemas.microsoft.com/office/drawing/2014/main" id="{93D1A38E-FC9B-4644-AD75-D01ED0884F3B}"/>
              </a:ext>
            </a:extLst>
          </p:cNvPr>
          <p:cNvGrpSpPr/>
          <p:nvPr/>
        </p:nvGrpSpPr>
        <p:grpSpPr>
          <a:xfrm>
            <a:off x="3170177" y="1555354"/>
            <a:ext cx="4707999" cy="5438042"/>
            <a:chOff x="1703434" y="1414433"/>
            <a:chExt cx="4393465" cy="5438042"/>
          </a:xfrm>
          <a:solidFill>
            <a:srgbClr val="CBCBCB"/>
          </a:solidFill>
          <a:effectLst>
            <a:outerShdw blurRad="139700" dist="139700" dir="5400000" algn="t" rotWithShape="0">
              <a:prstClr val="black">
                <a:alpha val="30000"/>
              </a:prstClr>
            </a:outerShdw>
          </a:effectLst>
        </p:grpSpPr>
        <p:sp>
          <p:nvSpPr>
            <p:cNvPr id="207" name="Freeform 16">
              <a:extLst>
                <a:ext uri="{FF2B5EF4-FFF2-40B4-BE49-F238E27FC236}">
                  <a16:creationId xmlns:a16="http://schemas.microsoft.com/office/drawing/2014/main" id="{D7853432-CEFC-4204-8D78-9950D19E842A}"/>
                </a:ext>
              </a:extLst>
            </p:cNvPr>
            <p:cNvSpPr>
              <a:spLocks noEditPoints="1"/>
            </p:cNvSpPr>
            <p:nvPr/>
          </p:nvSpPr>
          <p:spPr bwMode="auto">
            <a:xfrm rot="21367780">
              <a:off x="1703434" y="2355854"/>
              <a:ext cx="1241655" cy="515908"/>
            </a:xfrm>
            <a:custGeom>
              <a:avLst/>
              <a:gdLst>
                <a:gd name="T0" fmla="*/ 495 w 710"/>
                <a:gd name="T1" fmla="*/ 231 h 297"/>
                <a:gd name="T2" fmla="*/ 495 w 710"/>
                <a:gd name="T3" fmla="*/ 248 h 297"/>
                <a:gd name="T4" fmla="*/ 484 w 710"/>
                <a:gd name="T5" fmla="*/ 253 h 297"/>
                <a:gd name="T6" fmla="*/ 484 w 710"/>
                <a:gd name="T7" fmla="*/ 270 h 297"/>
                <a:gd name="T8" fmla="*/ 490 w 710"/>
                <a:gd name="T9" fmla="*/ 270 h 297"/>
                <a:gd name="T10" fmla="*/ 506 w 710"/>
                <a:gd name="T11" fmla="*/ 270 h 297"/>
                <a:gd name="T12" fmla="*/ 523 w 710"/>
                <a:gd name="T13" fmla="*/ 275 h 297"/>
                <a:gd name="T14" fmla="*/ 534 w 710"/>
                <a:gd name="T15" fmla="*/ 292 h 297"/>
                <a:gd name="T16" fmla="*/ 545 w 710"/>
                <a:gd name="T17" fmla="*/ 297 h 297"/>
                <a:gd name="T18" fmla="*/ 556 w 710"/>
                <a:gd name="T19" fmla="*/ 281 h 297"/>
                <a:gd name="T20" fmla="*/ 561 w 710"/>
                <a:gd name="T21" fmla="*/ 264 h 297"/>
                <a:gd name="T22" fmla="*/ 572 w 710"/>
                <a:gd name="T23" fmla="*/ 237 h 297"/>
                <a:gd name="T24" fmla="*/ 583 w 710"/>
                <a:gd name="T25" fmla="*/ 226 h 297"/>
                <a:gd name="T26" fmla="*/ 589 w 710"/>
                <a:gd name="T27" fmla="*/ 215 h 297"/>
                <a:gd name="T28" fmla="*/ 704 w 710"/>
                <a:gd name="T29" fmla="*/ 110 h 297"/>
                <a:gd name="T30" fmla="*/ 710 w 710"/>
                <a:gd name="T31" fmla="*/ 105 h 297"/>
                <a:gd name="T32" fmla="*/ 710 w 710"/>
                <a:gd name="T33" fmla="*/ 88 h 297"/>
                <a:gd name="T34" fmla="*/ 699 w 710"/>
                <a:gd name="T35" fmla="*/ 77 h 297"/>
                <a:gd name="T36" fmla="*/ 704 w 710"/>
                <a:gd name="T37" fmla="*/ 72 h 297"/>
                <a:gd name="T38" fmla="*/ 682 w 710"/>
                <a:gd name="T39" fmla="*/ 61 h 297"/>
                <a:gd name="T40" fmla="*/ 671 w 710"/>
                <a:gd name="T41" fmla="*/ 50 h 297"/>
                <a:gd name="T42" fmla="*/ 655 w 710"/>
                <a:gd name="T43" fmla="*/ 55 h 297"/>
                <a:gd name="T44" fmla="*/ 633 w 710"/>
                <a:gd name="T45" fmla="*/ 55 h 297"/>
                <a:gd name="T46" fmla="*/ 616 w 710"/>
                <a:gd name="T47" fmla="*/ 50 h 297"/>
                <a:gd name="T48" fmla="*/ 611 w 710"/>
                <a:gd name="T49" fmla="*/ 39 h 297"/>
                <a:gd name="T50" fmla="*/ 600 w 710"/>
                <a:gd name="T51" fmla="*/ 28 h 297"/>
                <a:gd name="T52" fmla="*/ 583 w 710"/>
                <a:gd name="T53" fmla="*/ 22 h 297"/>
                <a:gd name="T54" fmla="*/ 567 w 710"/>
                <a:gd name="T55" fmla="*/ 6 h 297"/>
                <a:gd name="T56" fmla="*/ 550 w 710"/>
                <a:gd name="T57" fmla="*/ 6 h 297"/>
                <a:gd name="T58" fmla="*/ 550 w 710"/>
                <a:gd name="T59" fmla="*/ 11 h 297"/>
                <a:gd name="T60" fmla="*/ 539 w 710"/>
                <a:gd name="T61" fmla="*/ 17 h 297"/>
                <a:gd name="T62" fmla="*/ 523 w 710"/>
                <a:gd name="T63" fmla="*/ 28 h 297"/>
                <a:gd name="T64" fmla="*/ 506 w 710"/>
                <a:gd name="T65" fmla="*/ 28 h 297"/>
                <a:gd name="T66" fmla="*/ 501 w 710"/>
                <a:gd name="T67" fmla="*/ 44 h 297"/>
                <a:gd name="T68" fmla="*/ 501 w 710"/>
                <a:gd name="T69" fmla="*/ 61 h 297"/>
                <a:gd name="T70" fmla="*/ 490 w 710"/>
                <a:gd name="T71" fmla="*/ 72 h 297"/>
                <a:gd name="T72" fmla="*/ 490 w 710"/>
                <a:gd name="T73" fmla="*/ 94 h 297"/>
                <a:gd name="T74" fmla="*/ 479 w 710"/>
                <a:gd name="T75" fmla="*/ 99 h 297"/>
                <a:gd name="T76" fmla="*/ 468 w 710"/>
                <a:gd name="T77" fmla="*/ 110 h 297"/>
                <a:gd name="T78" fmla="*/ 468 w 710"/>
                <a:gd name="T79" fmla="*/ 132 h 297"/>
                <a:gd name="T80" fmla="*/ 473 w 710"/>
                <a:gd name="T81" fmla="*/ 154 h 297"/>
                <a:gd name="T82" fmla="*/ 462 w 710"/>
                <a:gd name="T83" fmla="*/ 171 h 297"/>
                <a:gd name="T84" fmla="*/ 479 w 710"/>
                <a:gd name="T85" fmla="*/ 182 h 297"/>
                <a:gd name="T86" fmla="*/ 490 w 710"/>
                <a:gd name="T87" fmla="*/ 187 h 297"/>
                <a:gd name="T88" fmla="*/ 501 w 710"/>
                <a:gd name="T89" fmla="*/ 176 h 297"/>
                <a:gd name="T90" fmla="*/ 506 w 710"/>
                <a:gd name="T91" fmla="*/ 182 h 297"/>
                <a:gd name="T92" fmla="*/ 501 w 710"/>
                <a:gd name="T93" fmla="*/ 182 h 297"/>
                <a:gd name="T94" fmla="*/ 512 w 710"/>
                <a:gd name="T95" fmla="*/ 176 h 297"/>
                <a:gd name="T96" fmla="*/ 512 w 710"/>
                <a:gd name="T97" fmla="*/ 160 h 297"/>
                <a:gd name="T98" fmla="*/ 512 w 710"/>
                <a:gd name="T99" fmla="*/ 171 h 297"/>
                <a:gd name="T100" fmla="*/ 517 w 710"/>
                <a:gd name="T101" fmla="*/ 182 h 297"/>
                <a:gd name="T102" fmla="*/ 512 w 710"/>
                <a:gd name="T103" fmla="*/ 209 h 297"/>
                <a:gd name="T104" fmla="*/ 501 w 710"/>
                <a:gd name="T105" fmla="*/ 215 h 297"/>
                <a:gd name="T106" fmla="*/ 490 w 710"/>
                <a:gd name="T107" fmla="*/ 220 h 297"/>
                <a:gd name="T108" fmla="*/ 50 w 710"/>
                <a:gd name="T109" fmla="*/ 99 h 297"/>
                <a:gd name="T110" fmla="*/ 17 w 710"/>
                <a:gd name="T111" fmla="*/ 121 h 2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10"/>
                <a:gd name="T169" fmla="*/ 0 h 297"/>
                <a:gd name="T170" fmla="*/ 710 w 710"/>
                <a:gd name="T171" fmla="*/ 297 h 29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10" h="297">
                  <a:moveTo>
                    <a:pt x="490" y="220"/>
                  </a:moveTo>
                  <a:lnTo>
                    <a:pt x="490" y="226"/>
                  </a:lnTo>
                  <a:lnTo>
                    <a:pt x="495" y="226"/>
                  </a:lnTo>
                  <a:lnTo>
                    <a:pt x="490" y="226"/>
                  </a:lnTo>
                  <a:lnTo>
                    <a:pt x="495" y="226"/>
                  </a:lnTo>
                  <a:lnTo>
                    <a:pt x="495" y="231"/>
                  </a:lnTo>
                  <a:lnTo>
                    <a:pt x="495" y="237"/>
                  </a:lnTo>
                  <a:lnTo>
                    <a:pt x="495" y="242"/>
                  </a:lnTo>
                  <a:lnTo>
                    <a:pt x="495" y="248"/>
                  </a:lnTo>
                  <a:lnTo>
                    <a:pt x="490" y="248"/>
                  </a:lnTo>
                  <a:lnTo>
                    <a:pt x="490" y="253"/>
                  </a:lnTo>
                  <a:lnTo>
                    <a:pt x="490" y="248"/>
                  </a:lnTo>
                  <a:lnTo>
                    <a:pt x="484" y="248"/>
                  </a:lnTo>
                  <a:lnTo>
                    <a:pt x="484" y="253"/>
                  </a:lnTo>
                  <a:lnTo>
                    <a:pt x="484" y="259"/>
                  </a:lnTo>
                  <a:lnTo>
                    <a:pt x="490" y="259"/>
                  </a:lnTo>
                  <a:lnTo>
                    <a:pt x="484" y="270"/>
                  </a:lnTo>
                  <a:lnTo>
                    <a:pt x="490" y="275"/>
                  </a:lnTo>
                  <a:lnTo>
                    <a:pt x="490" y="270"/>
                  </a:lnTo>
                  <a:lnTo>
                    <a:pt x="495" y="264"/>
                  </a:lnTo>
                  <a:lnTo>
                    <a:pt x="501" y="264"/>
                  </a:lnTo>
                  <a:lnTo>
                    <a:pt x="506" y="270"/>
                  </a:lnTo>
                  <a:lnTo>
                    <a:pt x="512" y="270"/>
                  </a:lnTo>
                  <a:lnTo>
                    <a:pt x="512" y="275"/>
                  </a:lnTo>
                  <a:lnTo>
                    <a:pt x="517" y="270"/>
                  </a:lnTo>
                  <a:lnTo>
                    <a:pt x="523" y="270"/>
                  </a:lnTo>
                  <a:lnTo>
                    <a:pt x="523" y="275"/>
                  </a:lnTo>
                  <a:lnTo>
                    <a:pt x="523" y="281"/>
                  </a:lnTo>
                  <a:lnTo>
                    <a:pt x="528" y="286"/>
                  </a:lnTo>
                  <a:lnTo>
                    <a:pt x="528" y="292"/>
                  </a:lnTo>
                  <a:lnTo>
                    <a:pt x="534" y="292"/>
                  </a:lnTo>
                  <a:lnTo>
                    <a:pt x="534" y="297"/>
                  </a:lnTo>
                  <a:lnTo>
                    <a:pt x="539" y="297"/>
                  </a:lnTo>
                  <a:lnTo>
                    <a:pt x="545" y="297"/>
                  </a:lnTo>
                  <a:lnTo>
                    <a:pt x="550" y="292"/>
                  </a:lnTo>
                  <a:lnTo>
                    <a:pt x="550" y="286"/>
                  </a:lnTo>
                  <a:lnTo>
                    <a:pt x="550" y="281"/>
                  </a:lnTo>
                  <a:lnTo>
                    <a:pt x="556" y="281"/>
                  </a:lnTo>
                  <a:lnTo>
                    <a:pt x="561" y="275"/>
                  </a:lnTo>
                  <a:lnTo>
                    <a:pt x="561" y="270"/>
                  </a:lnTo>
                  <a:lnTo>
                    <a:pt x="561" y="264"/>
                  </a:lnTo>
                  <a:lnTo>
                    <a:pt x="567" y="259"/>
                  </a:lnTo>
                  <a:lnTo>
                    <a:pt x="567" y="253"/>
                  </a:lnTo>
                  <a:lnTo>
                    <a:pt x="567" y="248"/>
                  </a:lnTo>
                  <a:lnTo>
                    <a:pt x="572" y="242"/>
                  </a:lnTo>
                  <a:lnTo>
                    <a:pt x="572" y="237"/>
                  </a:lnTo>
                  <a:lnTo>
                    <a:pt x="572" y="231"/>
                  </a:lnTo>
                  <a:lnTo>
                    <a:pt x="578" y="226"/>
                  </a:lnTo>
                  <a:lnTo>
                    <a:pt x="578" y="231"/>
                  </a:lnTo>
                  <a:lnTo>
                    <a:pt x="583" y="231"/>
                  </a:lnTo>
                  <a:lnTo>
                    <a:pt x="583" y="226"/>
                  </a:lnTo>
                  <a:lnTo>
                    <a:pt x="583" y="220"/>
                  </a:lnTo>
                  <a:lnTo>
                    <a:pt x="583" y="215"/>
                  </a:lnTo>
                  <a:lnTo>
                    <a:pt x="589" y="215"/>
                  </a:lnTo>
                  <a:lnTo>
                    <a:pt x="600" y="204"/>
                  </a:lnTo>
                  <a:lnTo>
                    <a:pt x="649" y="182"/>
                  </a:lnTo>
                  <a:lnTo>
                    <a:pt x="677" y="165"/>
                  </a:lnTo>
                  <a:lnTo>
                    <a:pt x="699" y="138"/>
                  </a:lnTo>
                  <a:lnTo>
                    <a:pt x="704" y="110"/>
                  </a:lnTo>
                  <a:lnTo>
                    <a:pt x="710" y="110"/>
                  </a:lnTo>
                  <a:lnTo>
                    <a:pt x="710" y="105"/>
                  </a:lnTo>
                  <a:lnTo>
                    <a:pt x="710" y="99"/>
                  </a:lnTo>
                  <a:lnTo>
                    <a:pt x="710" y="94"/>
                  </a:lnTo>
                  <a:lnTo>
                    <a:pt x="710" y="88"/>
                  </a:lnTo>
                  <a:lnTo>
                    <a:pt x="710" y="94"/>
                  </a:lnTo>
                  <a:lnTo>
                    <a:pt x="710" y="88"/>
                  </a:lnTo>
                  <a:lnTo>
                    <a:pt x="704" y="88"/>
                  </a:lnTo>
                  <a:lnTo>
                    <a:pt x="704" y="83"/>
                  </a:lnTo>
                  <a:lnTo>
                    <a:pt x="699" y="77"/>
                  </a:lnTo>
                  <a:lnTo>
                    <a:pt x="693" y="77"/>
                  </a:lnTo>
                  <a:lnTo>
                    <a:pt x="693" y="72"/>
                  </a:lnTo>
                  <a:lnTo>
                    <a:pt x="699" y="72"/>
                  </a:lnTo>
                  <a:lnTo>
                    <a:pt x="704" y="72"/>
                  </a:lnTo>
                  <a:lnTo>
                    <a:pt x="710" y="72"/>
                  </a:lnTo>
                  <a:lnTo>
                    <a:pt x="704" y="72"/>
                  </a:lnTo>
                  <a:lnTo>
                    <a:pt x="693" y="61"/>
                  </a:lnTo>
                  <a:lnTo>
                    <a:pt x="688" y="61"/>
                  </a:lnTo>
                  <a:lnTo>
                    <a:pt x="682" y="61"/>
                  </a:lnTo>
                  <a:lnTo>
                    <a:pt x="677" y="50"/>
                  </a:lnTo>
                  <a:lnTo>
                    <a:pt x="671" y="50"/>
                  </a:lnTo>
                  <a:lnTo>
                    <a:pt x="666" y="44"/>
                  </a:lnTo>
                  <a:lnTo>
                    <a:pt x="660" y="50"/>
                  </a:lnTo>
                  <a:lnTo>
                    <a:pt x="660" y="55"/>
                  </a:lnTo>
                  <a:lnTo>
                    <a:pt x="655" y="55"/>
                  </a:lnTo>
                  <a:lnTo>
                    <a:pt x="649" y="55"/>
                  </a:lnTo>
                  <a:lnTo>
                    <a:pt x="644" y="55"/>
                  </a:lnTo>
                  <a:lnTo>
                    <a:pt x="638" y="55"/>
                  </a:lnTo>
                  <a:lnTo>
                    <a:pt x="633" y="55"/>
                  </a:lnTo>
                  <a:lnTo>
                    <a:pt x="633" y="50"/>
                  </a:lnTo>
                  <a:lnTo>
                    <a:pt x="627" y="50"/>
                  </a:lnTo>
                  <a:lnTo>
                    <a:pt x="622" y="50"/>
                  </a:lnTo>
                  <a:lnTo>
                    <a:pt x="616" y="50"/>
                  </a:lnTo>
                  <a:lnTo>
                    <a:pt x="616" y="44"/>
                  </a:lnTo>
                  <a:lnTo>
                    <a:pt x="616" y="39"/>
                  </a:lnTo>
                  <a:lnTo>
                    <a:pt x="616" y="33"/>
                  </a:lnTo>
                  <a:lnTo>
                    <a:pt x="611" y="39"/>
                  </a:lnTo>
                  <a:lnTo>
                    <a:pt x="605" y="33"/>
                  </a:lnTo>
                  <a:lnTo>
                    <a:pt x="605" y="28"/>
                  </a:lnTo>
                  <a:lnTo>
                    <a:pt x="600" y="28"/>
                  </a:lnTo>
                  <a:lnTo>
                    <a:pt x="594" y="28"/>
                  </a:lnTo>
                  <a:lnTo>
                    <a:pt x="589" y="22"/>
                  </a:lnTo>
                  <a:lnTo>
                    <a:pt x="583" y="22"/>
                  </a:lnTo>
                  <a:lnTo>
                    <a:pt x="578" y="17"/>
                  </a:lnTo>
                  <a:lnTo>
                    <a:pt x="572" y="11"/>
                  </a:lnTo>
                  <a:lnTo>
                    <a:pt x="567" y="11"/>
                  </a:lnTo>
                  <a:lnTo>
                    <a:pt x="567" y="6"/>
                  </a:lnTo>
                  <a:lnTo>
                    <a:pt x="561" y="6"/>
                  </a:lnTo>
                  <a:lnTo>
                    <a:pt x="556" y="0"/>
                  </a:lnTo>
                  <a:lnTo>
                    <a:pt x="550" y="6"/>
                  </a:lnTo>
                  <a:lnTo>
                    <a:pt x="556" y="6"/>
                  </a:lnTo>
                  <a:lnTo>
                    <a:pt x="550" y="6"/>
                  </a:lnTo>
                  <a:lnTo>
                    <a:pt x="550" y="11"/>
                  </a:lnTo>
                  <a:lnTo>
                    <a:pt x="550" y="17"/>
                  </a:lnTo>
                  <a:lnTo>
                    <a:pt x="545" y="11"/>
                  </a:lnTo>
                  <a:lnTo>
                    <a:pt x="539" y="17"/>
                  </a:lnTo>
                  <a:lnTo>
                    <a:pt x="528" y="17"/>
                  </a:lnTo>
                  <a:lnTo>
                    <a:pt x="523" y="22"/>
                  </a:lnTo>
                  <a:lnTo>
                    <a:pt x="517" y="22"/>
                  </a:lnTo>
                  <a:lnTo>
                    <a:pt x="523" y="28"/>
                  </a:lnTo>
                  <a:lnTo>
                    <a:pt x="517" y="22"/>
                  </a:lnTo>
                  <a:lnTo>
                    <a:pt x="512" y="28"/>
                  </a:lnTo>
                  <a:lnTo>
                    <a:pt x="506" y="28"/>
                  </a:lnTo>
                  <a:lnTo>
                    <a:pt x="501" y="28"/>
                  </a:lnTo>
                  <a:lnTo>
                    <a:pt x="501" y="33"/>
                  </a:lnTo>
                  <a:lnTo>
                    <a:pt x="501" y="39"/>
                  </a:lnTo>
                  <a:lnTo>
                    <a:pt x="501" y="44"/>
                  </a:lnTo>
                  <a:lnTo>
                    <a:pt x="506" y="50"/>
                  </a:lnTo>
                  <a:lnTo>
                    <a:pt x="501" y="50"/>
                  </a:lnTo>
                  <a:lnTo>
                    <a:pt x="501" y="61"/>
                  </a:lnTo>
                  <a:lnTo>
                    <a:pt x="501" y="66"/>
                  </a:lnTo>
                  <a:lnTo>
                    <a:pt x="495" y="66"/>
                  </a:lnTo>
                  <a:lnTo>
                    <a:pt x="495" y="72"/>
                  </a:lnTo>
                  <a:lnTo>
                    <a:pt x="490" y="72"/>
                  </a:lnTo>
                  <a:lnTo>
                    <a:pt x="490" y="77"/>
                  </a:lnTo>
                  <a:lnTo>
                    <a:pt x="484" y="77"/>
                  </a:lnTo>
                  <a:lnTo>
                    <a:pt x="484" y="83"/>
                  </a:lnTo>
                  <a:lnTo>
                    <a:pt x="484" y="88"/>
                  </a:lnTo>
                  <a:lnTo>
                    <a:pt x="490" y="94"/>
                  </a:lnTo>
                  <a:lnTo>
                    <a:pt x="484" y="94"/>
                  </a:lnTo>
                  <a:lnTo>
                    <a:pt x="479" y="99"/>
                  </a:lnTo>
                  <a:lnTo>
                    <a:pt x="479" y="105"/>
                  </a:lnTo>
                  <a:lnTo>
                    <a:pt x="479" y="110"/>
                  </a:lnTo>
                  <a:lnTo>
                    <a:pt x="473" y="110"/>
                  </a:lnTo>
                  <a:lnTo>
                    <a:pt x="468" y="110"/>
                  </a:lnTo>
                  <a:lnTo>
                    <a:pt x="462" y="116"/>
                  </a:lnTo>
                  <a:lnTo>
                    <a:pt x="462" y="121"/>
                  </a:lnTo>
                  <a:lnTo>
                    <a:pt x="473" y="127"/>
                  </a:lnTo>
                  <a:lnTo>
                    <a:pt x="468" y="132"/>
                  </a:lnTo>
                  <a:lnTo>
                    <a:pt x="468" y="138"/>
                  </a:lnTo>
                  <a:lnTo>
                    <a:pt x="468" y="143"/>
                  </a:lnTo>
                  <a:lnTo>
                    <a:pt x="473" y="149"/>
                  </a:lnTo>
                  <a:lnTo>
                    <a:pt x="473" y="154"/>
                  </a:lnTo>
                  <a:lnTo>
                    <a:pt x="473" y="160"/>
                  </a:lnTo>
                  <a:lnTo>
                    <a:pt x="468" y="165"/>
                  </a:lnTo>
                  <a:lnTo>
                    <a:pt x="462" y="171"/>
                  </a:lnTo>
                  <a:lnTo>
                    <a:pt x="457" y="165"/>
                  </a:lnTo>
                  <a:lnTo>
                    <a:pt x="462" y="171"/>
                  </a:lnTo>
                  <a:lnTo>
                    <a:pt x="462" y="176"/>
                  </a:lnTo>
                  <a:lnTo>
                    <a:pt x="468" y="176"/>
                  </a:lnTo>
                  <a:lnTo>
                    <a:pt x="473" y="176"/>
                  </a:lnTo>
                  <a:lnTo>
                    <a:pt x="479" y="182"/>
                  </a:lnTo>
                  <a:lnTo>
                    <a:pt x="484" y="187"/>
                  </a:lnTo>
                  <a:lnTo>
                    <a:pt x="490" y="193"/>
                  </a:lnTo>
                  <a:lnTo>
                    <a:pt x="495" y="193"/>
                  </a:lnTo>
                  <a:lnTo>
                    <a:pt x="490" y="187"/>
                  </a:lnTo>
                  <a:lnTo>
                    <a:pt x="495" y="187"/>
                  </a:lnTo>
                  <a:lnTo>
                    <a:pt x="501" y="182"/>
                  </a:lnTo>
                  <a:lnTo>
                    <a:pt x="501" y="176"/>
                  </a:lnTo>
                  <a:lnTo>
                    <a:pt x="506" y="176"/>
                  </a:lnTo>
                  <a:lnTo>
                    <a:pt x="501" y="176"/>
                  </a:lnTo>
                  <a:lnTo>
                    <a:pt x="501" y="182"/>
                  </a:lnTo>
                  <a:lnTo>
                    <a:pt x="506" y="182"/>
                  </a:lnTo>
                  <a:lnTo>
                    <a:pt x="501" y="182"/>
                  </a:lnTo>
                  <a:lnTo>
                    <a:pt x="501" y="187"/>
                  </a:lnTo>
                  <a:lnTo>
                    <a:pt x="506" y="187"/>
                  </a:lnTo>
                  <a:lnTo>
                    <a:pt x="506" y="182"/>
                  </a:lnTo>
                  <a:lnTo>
                    <a:pt x="512" y="176"/>
                  </a:lnTo>
                  <a:lnTo>
                    <a:pt x="512" y="171"/>
                  </a:lnTo>
                  <a:lnTo>
                    <a:pt x="506" y="171"/>
                  </a:lnTo>
                  <a:lnTo>
                    <a:pt x="512" y="165"/>
                  </a:lnTo>
                  <a:lnTo>
                    <a:pt x="512" y="160"/>
                  </a:lnTo>
                  <a:lnTo>
                    <a:pt x="512" y="165"/>
                  </a:lnTo>
                  <a:lnTo>
                    <a:pt x="512" y="171"/>
                  </a:lnTo>
                  <a:lnTo>
                    <a:pt x="512" y="176"/>
                  </a:lnTo>
                  <a:lnTo>
                    <a:pt x="512" y="182"/>
                  </a:lnTo>
                  <a:lnTo>
                    <a:pt x="517" y="182"/>
                  </a:lnTo>
                  <a:lnTo>
                    <a:pt x="517" y="187"/>
                  </a:lnTo>
                  <a:lnTo>
                    <a:pt x="512" y="187"/>
                  </a:lnTo>
                  <a:lnTo>
                    <a:pt x="512" y="193"/>
                  </a:lnTo>
                  <a:lnTo>
                    <a:pt x="512" y="204"/>
                  </a:lnTo>
                  <a:lnTo>
                    <a:pt x="512" y="209"/>
                  </a:lnTo>
                  <a:lnTo>
                    <a:pt x="506" y="209"/>
                  </a:lnTo>
                  <a:lnTo>
                    <a:pt x="506" y="215"/>
                  </a:lnTo>
                  <a:lnTo>
                    <a:pt x="501" y="215"/>
                  </a:lnTo>
                  <a:lnTo>
                    <a:pt x="501" y="220"/>
                  </a:lnTo>
                  <a:lnTo>
                    <a:pt x="501" y="215"/>
                  </a:lnTo>
                  <a:lnTo>
                    <a:pt x="501" y="220"/>
                  </a:lnTo>
                  <a:lnTo>
                    <a:pt x="495" y="220"/>
                  </a:lnTo>
                  <a:lnTo>
                    <a:pt x="490" y="220"/>
                  </a:lnTo>
                  <a:close/>
                  <a:moveTo>
                    <a:pt x="55" y="88"/>
                  </a:moveTo>
                  <a:lnTo>
                    <a:pt x="61" y="94"/>
                  </a:lnTo>
                  <a:lnTo>
                    <a:pt x="61" y="99"/>
                  </a:lnTo>
                  <a:lnTo>
                    <a:pt x="50" y="99"/>
                  </a:lnTo>
                  <a:lnTo>
                    <a:pt x="50" y="94"/>
                  </a:lnTo>
                  <a:lnTo>
                    <a:pt x="55" y="88"/>
                  </a:lnTo>
                  <a:close/>
                  <a:moveTo>
                    <a:pt x="6" y="66"/>
                  </a:moveTo>
                  <a:lnTo>
                    <a:pt x="11" y="61"/>
                  </a:lnTo>
                  <a:lnTo>
                    <a:pt x="17" y="83"/>
                  </a:lnTo>
                  <a:lnTo>
                    <a:pt x="28" y="105"/>
                  </a:lnTo>
                  <a:lnTo>
                    <a:pt x="17" y="121"/>
                  </a:lnTo>
                  <a:lnTo>
                    <a:pt x="6" y="105"/>
                  </a:lnTo>
                  <a:lnTo>
                    <a:pt x="17" y="94"/>
                  </a:lnTo>
                  <a:lnTo>
                    <a:pt x="11" y="83"/>
                  </a:lnTo>
                  <a:lnTo>
                    <a:pt x="0" y="72"/>
                  </a:lnTo>
                  <a:lnTo>
                    <a:pt x="6" y="66"/>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sp>
          <p:nvSpPr>
            <p:cNvPr id="208" name="Freeform 4">
              <a:extLst>
                <a:ext uri="{FF2B5EF4-FFF2-40B4-BE49-F238E27FC236}">
                  <a16:creationId xmlns:a16="http://schemas.microsoft.com/office/drawing/2014/main" id="{73D2F731-7AA5-4613-AD56-C0B137B81D49}"/>
                </a:ext>
              </a:extLst>
            </p:cNvPr>
            <p:cNvSpPr>
              <a:spLocks/>
            </p:cNvSpPr>
            <p:nvPr/>
          </p:nvSpPr>
          <p:spPr bwMode="auto">
            <a:xfrm rot="21367780">
              <a:off x="3452419" y="3139704"/>
              <a:ext cx="924906" cy="1055349"/>
            </a:xfrm>
            <a:custGeom>
              <a:avLst/>
              <a:gdLst>
                <a:gd name="T0" fmla="*/ 11 w 528"/>
                <a:gd name="T1" fmla="*/ 385 h 610"/>
                <a:gd name="T2" fmla="*/ 22 w 528"/>
                <a:gd name="T3" fmla="*/ 390 h 610"/>
                <a:gd name="T4" fmla="*/ 22 w 528"/>
                <a:gd name="T5" fmla="*/ 407 h 610"/>
                <a:gd name="T6" fmla="*/ 28 w 528"/>
                <a:gd name="T7" fmla="*/ 434 h 610"/>
                <a:gd name="T8" fmla="*/ 50 w 528"/>
                <a:gd name="T9" fmla="*/ 450 h 610"/>
                <a:gd name="T10" fmla="*/ 44 w 528"/>
                <a:gd name="T11" fmla="*/ 472 h 610"/>
                <a:gd name="T12" fmla="*/ 39 w 528"/>
                <a:gd name="T13" fmla="*/ 483 h 610"/>
                <a:gd name="T14" fmla="*/ 39 w 528"/>
                <a:gd name="T15" fmla="*/ 500 h 610"/>
                <a:gd name="T16" fmla="*/ 50 w 528"/>
                <a:gd name="T17" fmla="*/ 522 h 610"/>
                <a:gd name="T18" fmla="*/ 72 w 528"/>
                <a:gd name="T19" fmla="*/ 571 h 610"/>
                <a:gd name="T20" fmla="*/ 77 w 528"/>
                <a:gd name="T21" fmla="*/ 593 h 610"/>
                <a:gd name="T22" fmla="*/ 88 w 528"/>
                <a:gd name="T23" fmla="*/ 610 h 610"/>
                <a:gd name="T24" fmla="*/ 121 w 528"/>
                <a:gd name="T25" fmla="*/ 588 h 610"/>
                <a:gd name="T26" fmla="*/ 143 w 528"/>
                <a:gd name="T27" fmla="*/ 577 h 610"/>
                <a:gd name="T28" fmla="*/ 154 w 528"/>
                <a:gd name="T29" fmla="*/ 560 h 610"/>
                <a:gd name="T30" fmla="*/ 182 w 528"/>
                <a:gd name="T31" fmla="*/ 571 h 610"/>
                <a:gd name="T32" fmla="*/ 220 w 528"/>
                <a:gd name="T33" fmla="*/ 582 h 610"/>
                <a:gd name="T34" fmla="*/ 226 w 528"/>
                <a:gd name="T35" fmla="*/ 604 h 610"/>
                <a:gd name="T36" fmla="*/ 231 w 528"/>
                <a:gd name="T37" fmla="*/ 593 h 610"/>
                <a:gd name="T38" fmla="*/ 242 w 528"/>
                <a:gd name="T39" fmla="*/ 577 h 610"/>
                <a:gd name="T40" fmla="*/ 297 w 528"/>
                <a:gd name="T41" fmla="*/ 566 h 610"/>
                <a:gd name="T42" fmla="*/ 319 w 528"/>
                <a:gd name="T43" fmla="*/ 505 h 610"/>
                <a:gd name="T44" fmla="*/ 501 w 528"/>
                <a:gd name="T45" fmla="*/ 467 h 610"/>
                <a:gd name="T46" fmla="*/ 512 w 528"/>
                <a:gd name="T47" fmla="*/ 478 h 610"/>
                <a:gd name="T48" fmla="*/ 523 w 528"/>
                <a:gd name="T49" fmla="*/ 396 h 610"/>
                <a:gd name="T50" fmla="*/ 517 w 528"/>
                <a:gd name="T51" fmla="*/ 368 h 610"/>
                <a:gd name="T52" fmla="*/ 490 w 528"/>
                <a:gd name="T53" fmla="*/ 313 h 610"/>
                <a:gd name="T54" fmla="*/ 402 w 528"/>
                <a:gd name="T55" fmla="*/ 253 h 610"/>
                <a:gd name="T56" fmla="*/ 402 w 528"/>
                <a:gd name="T57" fmla="*/ 209 h 610"/>
                <a:gd name="T58" fmla="*/ 385 w 528"/>
                <a:gd name="T59" fmla="*/ 187 h 610"/>
                <a:gd name="T60" fmla="*/ 352 w 528"/>
                <a:gd name="T61" fmla="*/ 181 h 610"/>
                <a:gd name="T62" fmla="*/ 314 w 528"/>
                <a:gd name="T63" fmla="*/ 159 h 610"/>
                <a:gd name="T64" fmla="*/ 286 w 528"/>
                <a:gd name="T65" fmla="*/ 148 h 610"/>
                <a:gd name="T66" fmla="*/ 248 w 528"/>
                <a:gd name="T67" fmla="*/ 132 h 610"/>
                <a:gd name="T68" fmla="*/ 215 w 528"/>
                <a:gd name="T69" fmla="*/ 115 h 610"/>
                <a:gd name="T70" fmla="*/ 198 w 528"/>
                <a:gd name="T71" fmla="*/ 99 h 610"/>
                <a:gd name="T72" fmla="*/ 187 w 528"/>
                <a:gd name="T73" fmla="*/ 77 h 610"/>
                <a:gd name="T74" fmla="*/ 182 w 528"/>
                <a:gd name="T75" fmla="*/ 55 h 610"/>
                <a:gd name="T76" fmla="*/ 182 w 528"/>
                <a:gd name="T77" fmla="*/ 5 h 610"/>
                <a:gd name="T78" fmla="*/ 165 w 528"/>
                <a:gd name="T79" fmla="*/ 5 h 610"/>
                <a:gd name="T80" fmla="*/ 143 w 528"/>
                <a:gd name="T81" fmla="*/ 11 h 610"/>
                <a:gd name="T82" fmla="*/ 99 w 528"/>
                <a:gd name="T83" fmla="*/ 27 h 610"/>
                <a:gd name="T84" fmla="*/ 66 w 528"/>
                <a:gd name="T85" fmla="*/ 49 h 610"/>
                <a:gd name="T86" fmla="*/ 39 w 528"/>
                <a:gd name="T87" fmla="*/ 60 h 610"/>
                <a:gd name="T88" fmla="*/ 39 w 528"/>
                <a:gd name="T89" fmla="*/ 132 h 610"/>
                <a:gd name="T90" fmla="*/ 39 w 528"/>
                <a:gd name="T91" fmla="*/ 137 h 610"/>
                <a:gd name="T92" fmla="*/ 28 w 528"/>
                <a:gd name="T93" fmla="*/ 148 h 610"/>
                <a:gd name="T94" fmla="*/ 28 w 528"/>
                <a:gd name="T95" fmla="*/ 181 h 610"/>
                <a:gd name="T96" fmla="*/ 22 w 528"/>
                <a:gd name="T97" fmla="*/ 192 h 610"/>
                <a:gd name="T98" fmla="*/ 28 w 528"/>
                <a:gd name="T99" fmla="*/ 214 h 610"/>
                <a:gd name="T100" fmla="*/ 17 w 528"/>
                <a:gd name="T101" fmla="*/ 231 h 610"/>
                <a:gd name="T102" fmla="*/ 11 w 528"/>
                <a:gd name="T103" fmla="*/ 242 h 610"/>
                <a:gd name="T104" fmla="*/ 22 w 528"/>
                <a:gd name="T105" fmla="*/ 258 h 610"/>
                <a:gd name="T106" fmla="*/ 11 w 528"/>
                <a:gd name="T107" fmla="*/ 269 h 610"/>
                <a:gd name="T108" fmla="*/ 28 w 528"/>
                <a:gd name="T109" fmla="*/ 302 h 610"/>
                <a:gd name="T110" fmla="*/ 22 w 528"/>
                <a:gd name="T111" fmla="*/ 319 h 610"/>
                <a:gd name="T112" fmla="*/ 6 w 528"/>
                <a:gd name="T113" fmla="*/ 341 h 610"/>
                <a:gd name="T114" fmla="*/ 0 w 528"/>
                <a:gd name="T115" fmla="*/ 352 h 6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8"/>
                <a:gd name="T175" fmla="*/ 0 h 610"/>
                <a:gd name="T176" fmla="*/ 528 w 528"/>
                <a:gd name="T177" fmla="*/ 610 h 6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8" h="610">
                  <a:moveTo>
                    <a:pt x="6" y="363"/>
                  </a:moveTo>
                  <a:lnTo>
                    <a:pt x="6" y="368"/>
                  </a:lnTo>
                  <a:lnTo>
                    <a:pt x="11" y="374"/>
                  </a:lnTo>
                  <a:lnTo>
                    <a:pt x="11" y="379"/>
                  </a:lnTo>
                  <a:lnTo>
                    <a:pt x="11" y="385"/>
                  </a:lnTo>
                  <a:lnTo>
                    <a:pt x="17" y="385"/>
                  </a:lnTo>
                  <a:lnTo>
                    <a:pt x="22" y="385"/>
                  </a:lnTo>
                  <a:lnTo>
                    <a:pt x="22" y="390"/>
                  </a:lnTo>
                  <a:lnTo>
                    <a:pt x="22" y="396"/>
                  </a:lnTo>
                  <a:lnTo>
                    <a:pt x="22" y="401"/>
                  </a:lnTo>
                  <a:lnTo>
                    <a:pt x="22" y="407"/>
                  </a:lnTo>
                  <a:lnTo>
                    <a:pt x="22" y="412"/>
                  </a:lnTo>
                  <a:lnTo>
                    <a:pt x="28" y="418"/>
                  </a:lnTo>
                  <a:lnTo>
                    <a:pt x="28" y="423"/>
                  </a:lnTo>
                  <a:lnTo>
                    <a:pt x="28" y="428"/>
                  </a:lnTo>
                  <a:lnTo>
                    <a:pt x="28" y="434"/>
                  </a:lnTo>
                  <a:lnTo>
                    <a:pt x="33" y="434"/>
                  </a:lnTo>
                  <a:lnTo>
                    <a:pt x="39" y="439"/>
                  </a:lnTo>
                  <a:lnTo>
                    <a:pt x="39" y="445"/>
                  </a:lnTo>
                  <a:lnTo>
                    <a:pt x="44" y="445"/>
                  </a:lnTo>
                  <a:lnTo>
                    <a:pt x="50" y="450"/>
                  </a:lnTo>
                  <a:lnTo>
                    <a:pt x="44" y="461"/>
                  </a:lnTo>
                  <a:lnTo>
                    <a:pt x="39" y="461"/>
                  </a:lnTo>
                  <a:lnTo>
                    <a:pt x="39" y="467"/>
                  </a:lnTo>
                  <a:lnTo>
                    <a:pt x="44" y="467"/>
                  </a:lnTo>
                  <a:lnTo>
                    <a:pt x="44" y="472"/>
                  </a:lnTo>
                  <a:lnTo>
                    <a:pt x="50" y="472"/>
                  </a:lnTo>
                  <a:lnTo>
                    <a:pt x="44" y="478"/>
                  </a:lnTo>
                  <a:lnTo>
                    <a:pt x="39" y="478"/>
                  </a:lnTo>
                  <a:lnTo>
                    <a:pt x="39" y="483"/>
                  </a:lnTo>
                  <a:lnTo>
                    <a:pt x="33" y="483"/>
                  </a:lnTo>
                  <a:lnTo>
                    <a:pt x="39" y="483"/>
                  </a:lnTo>
                  <a:lnTo>
                    <a:pt x="39" y="489"/>
                  </a:lnTo>
                  <a:lnTo>
                    <a:pt x="39" y="494"/>
                  </a:lnTo>
                  <a:lnTo>
                    <a:pt x="39" y="500"/>
                  </a:lnTo>
                  <a:lnTo>
                    <a:pt x="44" y="505"/>
                  </a:lnTo>
                  <a:lnTo>
                    <a:pt x="50" y="505"/>
                  </a:lnTo>
                  <a:lnTo>
                    <a:pt x="50" y="511"/>
                  </a:lnTo>
                  <a:lnTo>
                    <a:pt x="44" y="511"/>
                  </a:lnTo>
                  <a:lnTo>
                    <a:pt x="44" y="516"/>
                  </a:lnTo>
                  <a:lnTo>
                    <a:pt x="50" y="522"/>
                  </a:lnTo>
                  <a:lnTo>
                    <a:pt x="61" y="538"/>
                  </a:lnTo>
                  <a:lnTo>
                    <a:pt x="61" y="549"/>
                  </a:lnTo>
                  <a:lnTo>
                    <a:pt x="66" y="555"/>
                  </a:lnTo>
                  <a:lnTo>
                    <a:pt x="66" y="560"/>
                  </a:lnTo>
                  <a:lnTo>
                    <a:pt x="66" y="566"/>
                  </a:lnTo>
                  <a:lnTo>
                    <a:pt x="72" y="571"/>
                  </a:lnTo>
                  <a:lnTo>
                    <a:pt x="72" y="577"/>
                  </a:lnTo>
                  <a:lnTo>
                    <a:pt x="72" y="582"/>
                  </a:lnTo>
                  <a:lnTo>
                    <a:pt x="77" y="588"/>
                  </a:lnTo>
                  <a:lnTo>
                    <a:pt x="77" y="593"/>
                  </a:lnTo>
                  <a:lnTo>
                    <a:pt x="77" y="604"/>
                  </a:lnTo>
                  <a:lnTo>
                    <a:pt x="77" y="610"/>
                  </a:lnTo>
                  <a:lnTo>
                    <a:pt x="88" y="610"/>
                  </a:lnTo>
                  <a:lnTo>
                    <a:pt x="105" y="604"/>
                  </a:lnTo>
                  <a:lnTo>
                    <a:pt x="110" y="604"/>
                  </a:lnTo>
                  <a:lnTo>
                    <a:pt x="110" y="599"/>
                  </a:lnTo>
                  <a:lnTo>
                    <a:pt x="110" y="593"/>
                  </a:lnTo>
                  <a:lnTo>
                    <a:pt x="116" y="593"/>
                  </a:lnTo>
                  <a:lnTo>
                    <a:pt x="121" y="588"/>
                  </a:lnTo>
                  <a:lnTo>
                    <a:pt x="121" y="582"/>
                  </a:lnTo>
                  <a:lnTo>
                    <a:pt x="127" y="582"/>
                  </a:lnTo>
                  <a:lnTo>
                    <a:pt x="127" y="577"/>
                  </a:lnTo>
                  <a:lnTo>
                    <a:pt x="127" y="582"/>
                  </a:lnTo>
                  <a:lnTo>
                    <a:pt x="132" y="577"/>
                  </a:lnTo>
                  <a:lnTo>
                    <a:pt x="143" y="577"/>
                  </a:lnTo>
                  <a:lnTo>
                    <a:pt x="143" y="571"/>
                  </a:lnTo>
                  <a:lnTo>
                    <a:pt x="143" y="566"/>
                  </a:lnTo>
                  <a:lnTo>
                    <a:pt x="149" y="560"/>
                  </a:lnTo>
                  <a:lnTo>
                    <a:pt x="154" y="560"/>
                  </a:lnTo>
                  <a:lnTo>
                    <a:pt x="154" y="566"/>
                  </a:lnTo>
                  <a:lnTo>
                    <a:pt x="160" y="566"/>
                  </a:lnTo>
                  <a:lnTo>
                    <a:pt x="165" y="571"/>
                  </a:lnTo>
                  <a:lnTo>
                    <a:pt x="165" y="577"/>
                  </a:lnTo>
                  <a:lnTo>
                    <a:pt x="176" y="571"/>
                  </a:lnTo>
                  <a:lnTo>
                    <a:pt x="182" y="571"/>
                  </a:lnTo>
                  <a:lnTo>
                    <a:pt x="204" y="571"/>
                  </a:lnTo>
                  <a:lnTo>
                    <a:pt x="204" y="577"/>
                  </a:lnTo>
                  <a:lnTo>
                    <a:pt x="209" y="577"/>
                  </a:lnTo>
                  <a:lnTo>
                    <a:pt x="215" y="577"/>
                  </a:lnTo>
                  <a:lnTo>
                    <a:pt x="220" y="582"/>
                  </a:lnTo>
                  <a:lnTo>
                    <a:pt x="220" y="588"/>
                  </a:lnTo>
                  <a:lnTo>
                    <a:pt x="226" y="593"/>
                  </a:lnTo>
                  <a:lnTo>
                    <a:pt x="226" y="599"/>
                  </a:lnTo>
                  <a:lnTo>
                    <a:pt x="226" y="604"/>
                  </a:lnTo>
                  <a:lnTo>
                    <a:pt x="226" y="610"/>
                  </a:lnTo>
                  <a:lnTo>
                    <a:pt x="231" y="610"/>
                  </a:lnTo>
                  <a:lnTo>
                    <a:pt x="231" y="604"/>
                  </a:lnTo>
                  <a:lnTo>
                    <a:pt x="231" y="599"/>
                  </a:lnTo>
                  <a:lnTo>
                    <a:pt x="231" y="593"/>
                  </a:lnTo>
                  <a:lnTo>
                    <a:pt x="237" y="593"/>
                  </a:lnTo>
                  <a:lnTo>
                    <a:pt x="237" y="588"/>
                  </a:lnTo>
                  <a:lnTo>
                    <a:pt x="237" y="582"/>
                  </a:lnTo>
                  <a:lnTo>
                    <a:pt x="242" y="582"/>
                  </a:lnTo>
                  <a:lnTo>
                    <a:pt x="242" y="577"/>
                  </a:lnTo>
                  <a:lnTo>
                    <a:pt x="242" y="571"/>
                  </a:lnTo>
                  <a:lnTo>
                    <a:pt x="248" y="571"/>
                  </a:lnTo>
                  <a:lnTo>
                    <a:pt x="248" y="566"/>
                  </a:lnTo>
                  <a:lnTo>
                    <a:pt x="253" y="566"/>
                  </a:lnTo>
                  <a:lnTo>
                    <a:pt x="259" y="571"/>
                  </a:lnTo>
                  <a:lnTo>
                    <a:pt x="259" y="566"/>
                  </a:lnTo>
                  <a:lnTo>
                    <a:pt x="297" y="566"/>
                  </a:lnTo>
                  <a:lnTo>
                    <a:pt x="297" y="577"/>
                  </a:lnTo>
                  <a:lnTo>
                    <a:pt x="303" y="577"/>
                  </a:lnTo>
                  <a:lnTo>
                    <a:pt x="303" y="582"/>
                  </a:lnTo>
                  <a:lnTo>
                    <a:pt x="319" y="527"/>
                  </a:lnTo>
                  <a:lnTo>
                    <a:pt x="319" y="505"/>
                  </a:lnTo>
                  <a:lnTo>
                    <a:pt x="336" y="483"/>
                  </a:lnTo>
                  <a:lnTo>
                    <a:pt x="352" y="467"/>
                  </a:lnTo>
                  <a:lnTo>
                    <a:pt x="391" y="450"/>
                  </a:lnTo>
                  <a:lnTo>
                    <a:pt x="418" y="445"/>
                  </a:lnTo>
                  <a:lnTo>
                    <a:pt x="457" y="445"/>
                  </a:lnTo>
                  <a:lnTo>
                    <a:pt x="484" y="461"/>
                  </a:lnTo>
                  <a:lnTo>
                    <a:pt x="501" y="467"/>
                  </a:lnTo>
                  <a:lnTo>
                    <a:pt x="501" y="472"/>
                  </a:lnTo>
                  <a:lnTo>
                    <a:pt x="501" y="478"/>
                  </a:lnTo>
                  <a:lnTo>
                    <a:pt x="501" y="483"/>
                  </a:lnTo>
                  <a:lnTo>
                    <a:pt x="506" y="478"/>
                  </a:lnTo>
                  <a:lnTo>
                    <a:pt x="512" y="478"/>
                  </a:lnTo>
                  <a:lnTo>
                    <a:pt x="501" y="467"/>
                  </a:lnTo>
                  <a:lnTo>
                    <a:pt x="517" y="434"/>
                  </a:lnTo>
                  <a:lnTo>
                    <a:pt x="517" y="428"/>
                  </a:lnTo>
                  <a:lnTo>
                    <a:pt x="523" y="396"/>
                  </a:lnTo>
                  <a:lnTo>
                    <a:pt x="528" y="396"/>
                  </a:lnTo>
                  <a:lnTo>
                    <a:pt x="517" y="379"/>
                  </a:lnTo>
                  <a:lnTo>
                    <a:pt x="517" y="374"/>
                  </a:lnTo>
                  <a:lnTo>
                    <a:pt x="517" y="368"/>
                  </a:lnTo>
                  <a:lnTo>
                    <a:pt x="506" y="357"/>
                  </a:lnTo>
                  <a:lnTo>
                    <a:pt x="490" y="352"/>
                  </a:lnTo>
                  <a:lnTo>
                    <a:pt x="484" y="324"/>
                  </a:lnTo>
                  <a:lnTo>
                    <a:pt x="490" y="319"/>
                  </a:lnTo>
                  <a:lnTo>
                    <a:pt x="490" y="313"/>
                  </a:lnTo>
                  <a:lnTo>
                    <a:pt x="490" y="308"/>
                  </a:lnTo>
                  <a:lnTo>
                    <a:pt x="484" y="308"/>
                  </a:lnTo>
                  <a:lnTo>
                    <a:pt x="413" y="308"/>
                  </a:lnTo>
                  <a:lnTo>
                    <a:pt x="407" y="269"/>
                  </a:lnTo>
                  <a:lnTo>
                    <a:pt x="391" y="253"/>
                  </a:lnTo>
                  <a:lnTo>
                    <a:pt x="402" y="253"/>
                  </a:lnTo>
                  <a:lnTo>
                    <a:pt x="402" y="236"/>
                  </a:lnTo>
                  <a:lnTo>
                    <a:pt x="402" y="231"/>
                  </a:lnTo>
                  <a:lnTo>
                    <a:pt x="402" y="225"/>
                  </a:lnTo>
                  <a:lnTo>
                    <a:pt x="402" y="214"/>
                  </a:lnTo>
                  <a:lnTo>
                    <a:pt x="402" y="209"/>
                  </a:lnTo>
                  <a:lnTo>
                    <a:pt x="396" y="209"/>
                  </a:lnTo>
                  <a:lnTo>
                    <a:pt x="402" y="198"/>
                  </a:lnTo>
                  <a:lnTo>
                    <a:pt x="396" y="192"/>
                  </a:lnTo>
                  <a:lnTo>
                    <a:pt x="391" y="187"/>
                  </a:lnTo>
                  <a:lnTo>
                    <a:pt x="385" y="187"/>
                  </a:lnTo>
                  <a:lnTo>
                    <a:pt x="374" y="181"/>
                  </a:lnTo>
                  <a:lnTo>
                    <a:pt x="374" y="176"/>
                  </a:lnTo>
                  <a:lnTo>
                    <a:pt x="369" y="181"/>
                  </a:lnTo>
                  <a:lnTo>
                    <a:pt x="363" y="181"/>
                  </a:lnTo>
                  <a:lnTo>
                    <a:pt x="358" y="176"/>
                  </a:lnTo>
                  <a:lnTo>
                    <a:pt x="352" y="181"/>
                  </a:lnTo>
                  <a:lnTo>
                    <a:pt x="347" y="176"/>
                  </a:lnTo>
                  <a:lnTo>
                    <a:pt x="336" y="181"/>
                  </a:lnTo>
                  <a:lnTo>
                    <a:pt x="336" y="176"/>
                  </a:lnTo>
                  <a:lnTo>
                    <a:pt x="325" y="165"/>
                  </a:lnTo>
                  <a:lnTo>
                    <a:pt x="325" y="159"/>
                  </a:lnTo>
                  <a:lnTo>
                    <a:pt x="319" y="159"/>
                  </a:lnTo>
                  <a:lnTo>
                    <a:pt x="314" y="159"/>
                  </a:lnTo>
                  <a:lnTo>
                    <a:pt x="308" y="159"/>
                  </a:lnTo>
                  <a:lnTo>
                    <a:pt x="303" y="154"/>
                  </a:lnTo>
                  <a:lnTo>
                    <a:pt x="297" y="154"/>
                  </a:lnTo>
                  <a:lnTo>
                    <a:pt x="292" y="148"/>
                  </a:lnTo>
                  <a:lnTo>
                    <a:pt x="286" y="148"/>
                  </a:lnTo>
                  <a:lnTo>
                    <a:pt x="286" y="137"/>
                  </a:lnTo>
                  <a:lnTo>
                    <a:pt x="281" y="137"/>
                  </a:lnTo>
                  <a:lnTo>
                    <a:pt x="275" y="143"/>
                  </a:lnTo>
                  <a:lnTo>
                    <a:pt x="259" y="132"/>
                  </a:lnTo>
                  <a:lnTo>
                    <a:pt x="248" y="132"/>
                  </a:lnTo>
                  <a:lnTo>
                    <a:pt x="242" y="132"/>
                  </a:lnTo>
                  <a:lnTo>
                    <a:pt x="237" y="132"/>
                  </a:lnTo>
                  <a:lnTo>
                    <a:pt x="226" y="132"/>
                  </a:lnTo>
                  <a:lnTo>
                    <a:pt x="220" y="126"/>
                  </a:lnTo>
                  <a:lnTo>
                    <a:pt x="220" y="121"/>
                  </a:lnTo>
                  <a:lnTo>
                    <a:pt x="215" y="115"/>
                  </a:lnTo>
                  <a:lnTo>
                    <a:pt x="209" y="115"/>
                  </a:lnTo>
                  <a:lnTo>
                    <a:pt x="209" y="110"/>
                  </a:lnTo>
                  <a:lnTo>
                    <a:pt x="204" y="110"/>
                  </a:lnTo>
                  <a:lnTo>
                    <a:pt x="198" y="99"/>
                  </a:lnTo>
                  <a:lnTo>
                    <a:pt x="193" y="93"/>
                  </a:lnTo>
                  <a:lnTo>
                    <a:pt x="193" y="99"/>
                  </a:lnTo>
                  <a:lnTo>
                    <a:pt x="193" y="93"/>
                  </a:lnTo>
                  <a:lnTo>
                    <a:pt x="193" y="88"/>
                  </a:lnTo>
                  <a:lnTo>
                    <a:pt x="187" y="82"/>
                  </a:lnTo>
                  <a:lnTo>
                    <a:pt x="187" y="77"/>
                  </a:lnTo>
                  <a:lnTo>
                    <a:pt x="182" y="71"/>
                  </a:lnTo>
                  <a:lnTo>
                    <a:pt x="187" y="66"/>
                  </a:lnTo>
                  <a:lnTo>
                    <a:pt x="187" y="60"/>
                  </a:lnTo>
                  <a:lnTo>
                    <a:pt x="187" y="55"/>
                  </a:lnTo>
                  <a:lnTo>
                    <a:pt x="182" y="55"/>
                  </a:lnTo>
                  <a:lnTo>
                    <a:pt x="182" y="44"/>
                  </a:lnTo>
                  <a:lnTo>
                    <a:pt x="182" y="38"/>
                  </a:lnTo>
                  <a:lnTo>
                    <a:pt x="187" y="27"/>
                  </a:lnTo>
                  <a:lnTo>
                    <a:pt x="187" y="16"/>
                  </a:lnTo>
                  <a:lnTo>
                    <a:pt x="187" y="11"/>
                  </a:lnTo>
                  <a:lnTo>
                    <a:pt x="182" y="5"/>
                  </a:lnTo>
                  <a:lnTo>
                    <a:pt x="182" y="0"/>
                  </a:lnTo>
                  <a:lnTo>
                    <a:pt x="176" y="5"/>
                  </a:lnTo>
                  <a:lnTo>
                    <a:pt x="176" y="11"/>
                  </a:lnTo>
                  <a:lnTo>
                    <a:pt x="171" y="5"/>
                  </a:lnTo>
                  <a:lnTo>
                    <a:pt x="165" y="5"/>
                  </a:lnTo>
                  <a:lnTo>
                    <a:pt x="154" y="5"/>
                  </a:lnTo>
                  <a:lnTo>
                    <a:pt x="143" y="11"/>
                  </a:lnTo>
                  <a:lnTo>
                    <a:pt x="138" y="11"/>
                  </a:lnTo>
                  <a:lnTo>
                    <a:pt x="127" y="11"/>
                  </a:lnTo>
                  <a:lnTo>
                    <a:pt x="121" y="16"/>
                  </a:lnTo>
                  <a:lnTo>
                    <a:pt x="110" y="27"/>
                  </a:lnTo>
                  <a:lnTo>
                    <a:pt x="105" y="27"/>
                  </a:lnTo>
                  <a:lnTo>
                    <a:pt x="99" y="27"/>
                  </a:lnTo>
                  <a:lnTo>
                    <a:pt x="99" y="33"/>
                  </a:lnTo>
                  <a:lnTo>
                    <a:pt x="94" y="33"/>
                  </a:lnTo>
                  <a:lnTo>
                    <a:pt x="88" y="38"/>
                  </a:lnTo>
                  <a:lnTo>
                    <a:pt x="83" y="49"/>
                  </a:lnTo>
                  <a:lnTo>
                    <a:pt x="77" y="44"/>
                  </a:lnTo>
                  <a:lnTo>
                    <a:pt x="66" y="49"/>
                  </a:lnTo>
                  <a:lnTo>
                    <a:pt x="55" y="60"/>
                  </a:lnTo>
                  <a:lnTo>
                    <a:pt x="50" y="66"/>
                  </a:lnTo>
                  <a:lnTo>
                    <a:pt x="44" y="66"/>
                  </a:lnTo>
                  <a:lnTo>
                    <a:pt x="33" y="66"/>
                  </a:lnTo>
                  <a:lnTo>
                    <a:pt x="39" y="60"/>
                  </a:lnTo>
                  <a:lnTo>
                    <a:pt x="28" y="66"/>
                  </a:lnTo>
                  <a:lnTo>
                    <a:pt x="22" y="60"/>
                  </a:lnTo>
                  <a:lnTo>
                    <a:pt x="6" y="60"/>
                  </a:lnTo>
                  <a:lnTo>
                    <a:pt x="0" y="60"/>
                  </a:lnTo>
                  <a:lnTo>
                    <a:pt x="28" y="110"/>
                  </a:lnTo>
                  <a:lnTo>
                    <a:pt x="39" y="132"/>
                  </a:lnTo>
                  <a:lnTo>
                    <a:pt x="39" y="137"/>
                  </a:lnTo>
                  <a:lnTo>
                    <a:pt x="33" y="137"/>
                  </a:lnTo>
                  <a:lnTo>
                    <a:pt x="39" y="137"/>
                  </a:lnTo>
                  <a:lnTo>
                    <a:pt x="39" y="143"/>
                  </a:lnTo>
                  <a:lnTo>
                    <a:pt x="33" y="143"/>
                  </a:lnTo>
                  <a:lnTo>
                    <a:pt x="28" y="143"/>
                  </a:lnTo>
                  <a:lnTo>
                    <a:pt x="28" y="148"/>
                  </a:lnTo>
                  <a:lnTo>
                    <a:pt x="28" y="154"/>
                  </a:lnTo>
                  <a:lnTo>
                    <a:pt x="28" y="159"/>
                  </a:lnTo>
                  <a:lnTo>
                    <a:pt x="28" y="165"/>
                  </a:lnTo>
                  <a:lnTo>
                    <a:pt x="28" y="181"/>
                  </a:lnTo>
                  <a:lnTo>
                    <a:pt x="22" y="181"/>
                  </a:lnTo>
                  <a:lnTo>
                    <a:pt x="22" y="187"/>
                  </a:lnTo>
                  <a:lnTo>
                    <a:pt x="28" y="187"/>
                  </a:lnTo>
                  <a:lnTo>
                    <a:pt x="22" y="192"/>
                  </a:lnTo>
                  <a:lnTo>
                    <a:pt x="28" y="192"/>
                  </a:lnTo>
                  <a:lnTo>
                    <a:pt x="28" y="198"/>
                  </a:lnTo>
                  <a:lnTo>
                    <a:pt x="28" y="203"/>
                  </a:lnTo>
                  <a:lnTo>
                    <a:pt x="33" y="203"/>
                  </a:lnTo>
                  <a:lnTo>
                    <a:pt x="33" y="209"/>
                  </a:lnTo>
                  <a:lnTo>
                    <a:pt x="28" y="214"/>
                  </a:lnTo>
                  <a:lnTo>
                    <a:pt x="28" y="220"/>
                  </a:lnTo>
                  <a:lnTo>
                    <a:pt x="22" y="225"/>
                  </a:lnTo>
                  <a:lnTo>
                    <a:pt x="17" y="225"/>
                  </a:lnTo>
                  <a:lnTo>
                    <a:pt x="17" y="231"/>
                  </a:lnTo>
                  <a:lnTo>
                    <a:pt x="17" y="236"/>
                  </a:lnTo>
                  <a:lnTo>
                    <a:pt x="11" y="236"/>
                  </a:lnTo>
                  <a:lnTo>
                    <a:pt x="11" y="242"/>
                  </a:lnTo>
                  <a:lnTo>
                    <a:pt x="11" y="247"/>
                  </a:lnTo>
                  <a:lnTo>
                    <a:pt x="11" y="253"/>
                  </a:lnTo>
                  <a:lnTo>
                    <a:pt x="17" y="253"/>
                  </a:lnTo>
                  <a:lnTo>
                    <a:pt x="22" y="258"/>
                  </a:lnTo>
                  <a:lnTo>
                    <a:pt x="17" y="258"/>
                  </a:lnTo>
                  <a:lnTo>
                    <a:pt x="17" y="264"/>
                  </a:lnTo>
                  <a:lnTo>
                    <a:pt x="11" y="264"/>
                  </a:lnTo>
                  <a:lnTo>
                    <a:pt x="11" y="269"/>
                  </a:lnTo>
                  <a:lnTo>
                    <a:pt x="6" y="275"/>
                  </a:lnTo>
                  <a:lnTo>
                    <a:pt x="17" y="302"/>
                  </a:lnTo>
                  <a:lnTo>
                    <a:pt x="22" y="302"/>
                  </a:lnTo>
                  <a:lnTo>
                    <a:pt x="28" y="302"/>
                  </a:lnTo>
                  <a:lnTo>
                    <a:pt x="28" y="308"/>
                  </a:lnTo>
                  <a:lnTo>
                    <a:pt x="33" y="308"/>
                  </a:lnTo>
                  <a:lnTo>
                    <a:pt x="28" y="313"/>
                  </a:lnTo>
                  <a:lnTo>
                    <a:pt x="22" y="313"/>
                  </a:lnTo>
                  <a:lnTo>
                    <a:pt x="22" y="319"/>
                  </a:lnTo>
                  <a:lnTo>
                    <a:pt x="28" y="324"/>
                  </a:lnTo>
                  <a:lnTo>
                    <a:pt x="22" y="324"/>
                  </a:lnTo>
                  <a:lnTo>
                    <a:pt x="17" y="324"/>
                  </a:lnTo>
                  <a:lnTo>
                    <a:pt x="17" y="330"/>
                  </a:lnTo>
                  <a:lnTo>
                    <a:pt x="11" y="335"/>
                  </a:lnTo>
                  <a:lnTo>
                    <a:pt x="6" y="341"/>
                  </a:lnTo>
                  <a:lnTo>
                    <a:pt x="11" y="341"/>
                  </a:lnTo>
                  <a:lnTo>
                    <a:pt x="6" y="346"/>
                  </a:lnTo>
                  <a:lnTo>
                    <a:pt x="0" y="346"/>
                  </a:lnTo>
                  <a:lnTo>
                    <a:pt x="0" y="352"/>
                  </a:lnTo>
                  <a:lnTo>
                    <a:pt x="6" y="357"/>
                  </a:lnTo>
                  <a:lnTo>
                    <a:pt x="6" y="363"/>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sp>
          <p:nvSpPr>
            <p:cNvPr id="209" name="Freeform 5">
              <a:extLst>
                <a:ext uri="{FF2B5EF4-FFF2-40B4-BE49-F238E27FC236}">
                  <a16:creationId xmlns:a16="http://schemas.microsoft.com/office/drawing/2014/main" id="{E7E723C8-2A5D-4455-BAB7-E39A5D9BE870}"/>
                </a:ext>
              </a:extLst>
            </p:cNvPr>
            <p:cNvSpPr>
              <a:spLocks/>
            </p:cNvSpPr>
            <p:nvPr/>
          </p:nvSpPr>
          <p:spPr bwMode="auto">
            <a:xfrm rot="21367780">
              <a:off x="2623648" y="1426852"/>
              <a:ext cx="932146" cy="1325070"/>
            </a:xfrm>
            <a:custGeom>
              <a:avLst/>
              <a:gdLst>
                <a:gd name="T0" fmla="*/ 77 w 533"/>
                <a:gd name="T1" fmla="*/ 220 h 765"/>
                <a:gd name="T2" fmla="*/ 71 w 533"/>
                <a:gd name="T3" fmla="*/ 182 h 765"/>
                <a:gd name="T4" fmla="*/ 88 w 533"/>
                <a:gd name="T5" fmla="*/ 193 h 765"/>
                <a:gd name="T6" fmla="*/ 93 w 533"/>
                <a:gd name="T7" fmla="*/ 198 h 765"/>
                <a:gd name="T8" fmla="*/ 99 w 533"/>
                <a:gd name="T9" fmla="*/ 193 h 765"/>
                <a:gd name="T10" fmla="*/ 121 w 533"/>
                <a:gd name="T11" fmla="*/ 154 h 765"/>
                <a:gd name="T12" fmla="*/ 143 w 533"/>
                <a:gd name="T13" fmla="*/ 138 h 765"/>
                <a:gd name="T14" fmla="*/ 154 w 533"/>
                <a:gd name="T15" fmla="*/ 99 h 765"/>
                <a:gd name="T16" fmla="*/ 154 w 533"/>
                <a:gd name="T17" fmla="*/ 88 h 765"/>
                <a:gd name="T18" fmla="*/ 165 w 533"/>
                <a:gd name="T19" fmla="*/ 77 h 765"/>
                <a:gd name="T20" fmla="*/ 198 w 533"/>
                <a:gd name="T21" fmla="*/ 66 h 765"/>
                <a:gd name="T22" fmla="*/ 198 w 533"/>
                <a:gd name="T23" fmla="*/ 72 h 765"/>
                <a:gd name="T24" fmla="*/ 209 w 533"/>
                <a:gd name="T25" fmla="*/ 55 h 765"/>
                <a:gd name="T26" fmla="*/ 247 w 533"/>
                <a:gd name="T27" fmla="*/ 50 h 765"/>
                <a:gd name="T28" fmla="*/ 291 w 533"/>
                <a:gd name="T29" fmla="*/ 28 h 765"/>
                <a:gd name="T30" fmla="*/ 313 w 533"/>
                <a:gd name="T31" fmla="*/ 11 h 765"/>
                <a:gd name="T32" fmla="*/ 319 w 533"/>
                <a:gd name="T33" fmla="*/ 0 h 765"/>
                <a:gd name="T34" fmla="*/ 341 w 533"/>
                <a:gd name="T35" fmla="*/ 6 h 765"/>
                <a:gd name="T36" fmla="*/ 264 w 533"/>
                <a:gd name="T37" fmla="*/ 110 h 765"/>
                <a:gd name="T38" fmla="*/ 291 w 533"/>
                <a:gd name="T39" fmla="*/ 204 h 765"/>
                <a:gd name="T40" fmla="*/ 341 w 533"/>
                <a:gd name="T41" fmla="*/ 253 h 765"/>
                <a:gd name="T42" fmla="*/ 456 w 533"/>
                <a:gd name="T43" fmla="*/ 292 h 765"/>
                <a:gd name="T44" fmla="*/ 489 w 533"/>
                <a:gd name="T45" fmla="*/ 341 h 765"/>
                <a:gd name="T46" fmla="*/ 511 w 533"/>
                <a:gd name="T47" fmla="*/ 413 h 765"/>
                <a:gd name="T48" fmla="*/ 528 w 533"/>
                <a:gd name="T49" fmla="*/ 501 h 765"/>
                <a:gd name="T50" fmla="*/ 467 w 533"/>
                <a:gd name="T51" fmla="*/ 490 h 765"/>
                <a:gd name="T52" fmla="*/ 429 w 533"/>
                <a:gd name="T53" fmla="*/ 528 h 765"/>
                <a:gd name="T54" fmla="*/ 396 w 533"/>
                <a:gd name="T55" fmla="*/ 545 h 765"/>
                <a:gd name="T56" fmla="*/ 418 w 533"/>
                <a:gd name="T57" fmla="*/ 644 h 765"/>
                <a:gd name="T58" fmla="*/ 390 w 533"/>
                <a:gd name="T59" fmla="*/ 693 h 765"/>
                <a:gd name="T60" fmla="*/ 368 w 533"/>
                <a:gd name="T61" fmla="*/ 682 h 765"/>
                <a:gd name="T62" fmla="*/ 346 w 533"/>
                <a:gd name="T63" fmla="*/ 682 h 765"/>
                <a:gd name="T64" fmla="*/ 319 w 533"/>
                <a:gd name="T65" fmla="*/ 671 h 765"/>
                <a:gd name="T66" fmla="*/ 286 w 533"/>
                <a:gd name="T67" fmla="*/ 682 h 765"/>
                <a:gd name="T68" fmla="*/ 253 w 533"/>
                <a:gd name="T69" fmla="*/ 677 h 765"/>
                <a:gd name="T70" fmla="*/ 242 w 533"/>
                <a:gd name="T71" fmla="*/ 649 h 765"/>
                <a:gd name="T72" fmla="*/ 220 w 533"/>
                <a:gd name="T73" fmla="*/ 622 h 765"/>
                <a:gd name="T74" fmla="*/ 209 w 533"/>
                <a:gd name="T75" fmla="*/ 611 h 765"/>
                <a:gd name="T76" fmla="*/ 187 w 533"/>
                <a:gd name="T77" fmla="*/ 583 h 765"/>
                <a:gd name="T78" fmla="*/ 137 w 533"/>
                <a:gd name="T79" fmla="*/ 567 h 765"/>
                <a:gd name="T80" fmla="*/ 104 w 533"/>
                <a:gd name="T81" fmla="*/ 561 h 765"/>
                <a:gd name="T82" fmla="*/ 71 w 533"/>
                <a:gd name="T83" fmla="*/ 545 h 765"/>
                <a:gd name="T84" fmla="*/ 38 w 533"/>
                <a:gd name="T85" fmla="*/ 528 h 765"/>
                <a:gd name="T86" fmla="*/ 5 w 533"/>
                <a:gd name="T87" fmla="*/ 501 h 765"/>
                <a:gd name="T88" fmla="*/ 22 w 533"/>
                <a:gd name="T89" fmla="*/ 479 h 765"/>
                <a:gd name="T90" fmla="*/ 22 w 533"/>
                <a:gd name="T91" fmla="*/ 462 h 765"/>
                <a:gd name="T92" fmla="*/ 44 w 533"/>
                <a:gd name="T93" fmla="*/ 457 h 765"/>
                <a:gd name="T94" fmla="*/ 55 w 533"/>
                <a:gd name="T95" fmla="*/ 451 h 765"/>
                <a:gd name="T96" fmla="*/ 55 w 533"/>
                <a:gd name="T97" fmla="*/ 440 h 765"/>
                <a:gd name="T98" fmla="*/ 60 w 533"/>
                <a:gd name="T99" fmla="*/ 435 h 765"/>
                <a:gd name="T100" fmla="*/ 71 w 533"/>
                <a:gd name="T101" fmla="*/ 418 h 765"/>
                <a:gd name="T102" fmla="*/ 77 w 533"/>
                <a:gd name="T103" fmla="*/ 413 h 765"/>
                <a:gd name="T104" fmla="*/ 82 w 533"/>
                <a:gd name="T105" fmla="*/ 402 h 765"/>
                <a:gd name="T106" fmla="*/ 82 w 533"/>
                <a:gd name="T107" fmla="*/ 396 h 765"/>
                <a:gd name="T108" fmla="*/ 77 w 533"/>
                <a:gd name="T109" fmla="*/ 391 h 765"/>
                <a:gd name="T110" fmla="*/ 71 w 533"/>
                <a:gd name="T111" fmla="*/ 391 h 765"/>
                <a:gd name="T112" fmla="*/ 77 w 533"/>
                <a:gd name="T113" fmla="*/ 369 h 765"/>
                <a:gd name="T114" fmla="*/ 71 w 533"/>
                <a:gd name="T115" fmla="*/ 336 h 765"/>
                <a:gd name="T116" fmla="*/ 66 w 533"/>
                <a:gd name="T117" fmla="*/ 319 h 765"/>
                <a:gd name="T118" fmla="*/ 71 w 533"/>
                <a:gd name="T119" fmla="*/ 292 h 765"/>
                <a:gd name="T120" fmla="*/ 71 w 533"/>
                <a:gd name="T121" fmla="*/ 264 h 765"/>
                <a:gd name="T122" fmla="*/ 49 w 533"/>
                <a:gd name="T123" fmla="*/ 237 h 76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
                <a:gd name="T187" fmla="*/ 0 h 765"/>
                <a:gd name="T188" fmla="*/ 533 w 533"/>
                <a:gd name="T189" fmla="*/ 765 h 76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 h="765">
                  <a:moveTo>
                    <a:pt x="49" y="237"/>
                  </a:moveTo>
                  <a:lnTo>
                    <a:pt x="55" y="226"/>
                  </a:lnTo>
                  <a:lnTo>
                    <a:pt x="60" y="226"/>
                  </a:lnTo>
                  <a:lnTo>
                    <a:pt x="55" y="220"/>
                  </a:lnTo>
                  <a:lnTo>
                    <a:pt x="55" y="215"/>
                  </a:lnTo>
                  <a:lnTo>
                    <a:pt x="60" y="220"/>
                  </a:lnTo>
                  <a:lnTo>
                    <a:pt x="66" y="226"/>
                  </a:lnTo>
                  <a:lnTo>
                    <a:pt x="66" y="220"/>
                  </a:lnTo>
                  <a:lnTo>
                    <a:pt x="71" y="220"/>
                  </a:lnTo>
                  <a:lnTo>
                    <a:pt x="77" y="220"/>
                  </a:lnTo>
                  <a:lnTo>
                    <a:pt x="77" y="215"/>
                  </a:lnTo>
                  <a:lnTo>
                    <a:pt x="71" y="215"/>
                  </a:lnTo>
                  <a:lnTo>
                    <a:pt x="77" y="209"/>
                  </a:lnTo>
                  <a:lnTo>
                    <a:pt x="82" y="209"/>
                  </a:lnTo>
                  <a:lnTo>
                    <a:pt x="82" y="204"/>
                  </a:lnTo>
                  <a:lnTo>
                    <a:pt x="82" y="198"/>
                  </a:lnTo>
                  <a:lnTo>
                    <a:pt x="77" y="193"/>
                  </a:lnTo>
                  <a:lnTo>
                    <a:pt x="71" y="193"/>
                  </a:lnTo>
                  <a:lnTo>
                    <a:pt x="71" y="187"/>
                  </a:lnTo>
                  <a:lnTo>
                    <a:pt x="71" y="182"/>
                  </a:lnTo>
                  <a:lnTo>
                    <a:pt x="71" y="176"/>
                  </a:lnTo>
                  <a:lnTo>
                    <a:pt x="71" y="171"/>
                  </a:lnTo>
                  <a:lnTo>
                    <a:pt x="77" y="171"/>
                  </a:lnTo>
                  <a:lnTo>
                    <a:pt x="77" y="176"/>
                  </a:lnTo>
                  <a:lnTo>
                    <a:pt x="77" y="182"/>
                  </a:lnTo>
                  <a:lnTo>
                    <a:pt x="82" y="182"/>
                  </a:lnTo>
                  <a:lnTo>
                    <a:pt x="82" y="187"/>
                  </a:lnTo>
                  <a:lnTo>
                    <a:pt x="88" y="193"/>
                  </a:lnTo>
                  <a:lnTo>
                    <a:pt x="93" y="193"/>
                  </a:lnTo>
                  <a:lnTo>
                    <a:pt x="93" y="198"/>
                  </a:lnTo>
                  <a:lnTo>
                    <a:pt x="99" y="198"/>
                  </a:lnTo>
                  <a:lnTo>
                    <a:pt x="93" y="198"/>
                  </a:lnTo>
                  <a:lnTo>
                    <a:pt x="99" y="198"/>
                  </a:lnTo>
                  <a:lnTo>
                    <a:pt x="93" y="198"/>
                  </a:lnTo>
                  <a:lnTo>
                    <a:pt x="99" y="198"/>
                  </a:lnTo>
                  <a:lnTo>
                    <a:pt x="93" y="198"/>
                  </a:lnTo>
                  <a:lnTo>
                    <a:pt x="99" y="204"/>
                  </a:lnTo>
                  <a:lnTo>
                    <a:pt x="93" y="204"/>
                  </a:lnTo>
                  <a:lnTo>
                    <a:pt x="93" y="209"/>
                  </a:lnTo>
                  <a:lnTo>
                    <a:pt x="99" y="209"/>
                  </a:lnTo>
                  <a:lnTo>
                    <a:pt x="99" y="204"/>
                  </a:lnTo>
                  <a:lnTo>
                    <a:pt x="99" y="198"/>
                  </a:lnTo>
                  <a:lnTo>
                    <a:pt x="99" y="193"/>
                  </a:lnTo>
                  <a:lnTo>
                    <a:pt x="99" y="187"/>
                  </a:lnTo>
                  <a:lnTo>
                    <a:pt x="99" y="182"/>
                  </a:lnTo>
                  <a:lnTo>
                    <a:pt x="93" y="176"/>
                  </a:lnTo>
                  <a:lnTo>
                    <a:pt x="104" y="171"/>
                  </a:lnTo>
                  <a:lnTo>
                    <a:pt x="110" y="165"/>
                  </a:lnTo>
                  <a:lnTo>
                    <a:pt x="115" y="165"/>
                  </a:lnTo>
                  <a:lnTo>
                    <a:pt x="115" y="160"/>
                  </a:lnTo>
                  <a:lnTo>
                    <a:pt x="121" y="160"/>
                  </a:lnTo>
                  <a:lnTo>
                    <a:pt x="121" y="154"/>
                  </a:lnTo>
                  <a:lnTo>
                    <a:pt x="126" y="154"/>
                  </a:lnTo>
                  <a:lnTo>
                    <a:pt x="126" y="149"/>
                  </a:lnTo>
                  <a:lnTo>
                    <a:pt x="126" y="143"/>
                  </a:lnTo>
                  <a:lnTo>
                    <a:pt x="132" y="143"/>
                  </a:lnTo>
                  <a:lnTo>
                    <a:pt x="137" y="138"/>
                  </a:lnTo>
                  <a:lnTo>
                    <a:pt x="143" y="138"/>
                  </a:lnTo>
                  <a:lnTo>
                    <a:pt x="137" y="138"/>
                  </a:lnTo>
                  <a:lnTo>
                    <a:pt x="143" y="138"/>
                  </a:lnTo>
                  <a:lnTo>
                    <a:pt x="148" y="138"/>
                  </a:lnTo>
                  <a:lnTo>
                    <a:pt x="154" y="132"/>
                  </a:lnTo>
                  <a:lnTo>
                    <a:pt x="148" y="127"/>
                  </a:lnTo>
                  <a:lnTo>
                    <a:pt x="148" y="121"/>
                  </a:lnTo>
                  <a:lnTo>
                    <a:pt x="148" y="116"/>
                  </a:lnTo>
                  <a:lnTo>
                    <a:pt x="154" y="110"/>
                  </a:lnTo>
                  <a:lnTo>
                    <a:pt x="154" y="105"/>
                  </a:lnTo>
                  <a:lnTo>
                    <a:pt x="154" y="99"/>
                  </a:lnTo>
                  <a:lnTo>
                    <a:pt x="148" y="105"/>
                  </a:lnTo>
                  <a:lnTo>
                    <a:pt x="148" y="99"/>
                  </a:lnTo>
                  <a:lnTo>
                    <a:pt x="154" y="99"/>
                  </a:lnTo>
                  <a:lnTo>
                    <a:pt x="154" y="94"/>
                  </a:lnTo>
                  <a:lnTo>
                    <a:pt x="154" y="88"/>
                  </a:lnTo>
                  <a:lnTo>
                    <a:pt x="154" y="94"/>
                  </a:lnTo>
                  <a:lnTo>
                    <a:pt x="154" y="88"/>
                  </a:lnTo>
                  <a:lnTo>
                    <a:pt x="154" y="83"/>
                  </a:lnTo>
                  <a:lnTo>
                    <a:pt x="159" y="83"/>
                  </a:lnTo>
                  <a:lnTo>
                    <a:pt x="159" y="77"/>
                  </a:lnTo>
                  <a:lnTo>
                    <a:pt x="165" y="77"/>
                  </a:lnTo>
                  <a:lnTo>
                    <a:pt x="165" y="72"/>
                  </a:lnTo>
                  <a:lnTo>
                    <a:pt x="170" y="72"/>
                  </a:lnTo>
                  <a:lnTo>
                    <a:pt x="176" y="72"/>
                  </a:lnTo>
                  <a:lnTo>
                    <a:pt x="176" y="66"/>
                  </a:lnTo>
                  <a:lnTo>
                    <a:pt x="181" y="61"/>
                  </a:lnTo>
                  <a:lnTo>
                    <a:pt x="187" y="61"/>
                  </a:lnTo>
                  <a:lnTo>
                    <a:pt x="198" y="66"/>
                  </a:lnTo>
                  <a:lnTo>
                    <a:pt x="203" y="66"/>
                  </a:lnTo>
                  <a:lnTo>
                    <a:pt x="209" y="66"/>
                  </a:lnTo>
                  <a:lnTo>
                    <a:pt x="203" y="66"/>
                  </a:lnTo>
                  <a:lnTo>
                    <a:pt x="198" y="66"/>
                  </a:lnTo>
                  <a:lnTo>
                    <a:pt x="198" y="72"/>
                  </a:lnTo>
                  <a:lnTo>
                    <a:pt x="192" y="72"/>
                  </a:lnTo>
                  <a:lnTo>
                    <a:pt x="192" y="77"/>
                  </a:lnTo>
                  <a:lnTo>
                    <a:pt x="198" y="77"/>
                  </a:lnTo>
                  <a:lnTo>
                    <a:pt x="198" y="72"/>
                  </a:lnTo>
                  <a:lnTo>
                    <a:pt x="198" y="77"/>
                  </a:lnTo>
                  <a:lnTo>
                    <a:pt x="198" y="72"/>
                  </a:lnTo>
                  <a:lnTo>
                    <a:pt x="198" y="77"/>
                  </a:lnTo>
                  <a:lnTo>
                    <a:pt x="203" y="77"/>
                  </a:lnTo>
                  <a:lnTo>
                    <a:pt x="203" y="72"/>
                  </a:lnTo>
                  <a:lnTo>
                    <a:pt x="209" y="66"/>
                  </a:lnTo>
                  <a:lnTo>
                    <a:pt x="209" y="61"/>
                  </a:lnTo>
                  <a:lnTo>
                    <a:pt x="209" y="55"/>
                  </a:lnTo>
                  <a:lnTo>
                    <a:pt x="214" y="50"/>
                  </a:lnTo>
                  <a:lnTo>
                    <a:pt x="220" y="50"/>
                  </a:lnTo>
                  <a:lnTo>
                    <a:pt x="225" y="50"/>
                  </a:lnTo>
                  <a:lnTo>
                    <a:pt x="231" y="50"/>
                  </a:lnTo>
                  <a:lnTo>
                    <a:pt x="236" y="50"/>
                  </a:lnTo>
                  <a:lnTo>
                    <a:pt x="247" y="50"/>
                  </a:lnTo>
                  <a:lnTo>
                    <a:pt x="253" y="50"/>
                  </a:lnTo>
                  <a:lnTo>
                    <a:pt x="258" y="44"/>
                  </a:lnTo>
                  <a:lnTo>
                    <a:pt x="264" y="39"/>
                  </a:lnTo>
                  <a:lnTo>
                    <a:pt x="269" y="39"/>
                  </a:lnTo>
                  <a:lnTo>
                    <a:pt x="275" y="33"/>
                  </a:lnTo>
                  <a:lnTo>
                    <a:pt x="280" y="33"/>
                  </a:lnTo>
                  <a:lnTo>
                    <a:pt x="280" y="28"/>
                  </a:lnTo>
                  <a:lnTo>
                    <a:pt x="286" y="28"/>
                  </a:lnTo>
                  <a:lnTo>
                    <a:pt x="291" y="28"/>
                  </a:lnTo>
                  <a:lnTo>
                    <a:pt x="297" y="22"/>
                  </a:lnTo>
                  <a:lnTo>
                    <a:pt x="302" y="17"/>
                  </a:lnTo>
                  <a:lnTo>
                    <a:pt x="302" y="11"/>
                  </a:lnTo>
                  <a:lnTo>
                    <a:pt x="302" y="6"/>
                  </a:lnTo>
                  <a:lnTo>
                    <a:pt x="308" y="6"/>
                  </a:lnTo>
                  <a:lnTo>
                    <a:pt x="308" y="11"/>
                  </a:lnTo>
                  <a:lnTo>
                    <a:pt x="313" y="11"/>
                  </a:lnTo>
                  <a:lnTo>
                    <a:pt x="313" y="6"/>
                  </a:lnTo>
                  <a:lnTo>
                    <a:pt x="308" y="6"/>
                  </a:lnTo>
                  <a:lnTo>
                    <a:pt x="313" y="0"/>
                  </a:lnTo>
                  <a:lnTo>
                    <a:pt x="313" y="6"/>
                  </a:lnTo>
                  <a:lnTo>
                    <a:pt x="319" y="0"/>
                  </a:lnTo>
                  <a:lnTo>
                    <a:pt x="324" y="0"/>
                  </a:lnTo>
                  <a:lnTo>
                    <a:pt x="319" y="0"/>
                  </a:lnTo>
                  <a:lnTo>
                    <a:pt x="324" y="0"/>
                  </a:lnTo>
                  <a:lnTo>
                    <a:pt x="319" y="0"/>
                  </a:lnTo>
                  <a:lnTo>
                    <a:pt x="324" y="0"/>
                  </a:lnTo>
                  <a:lnTo>
                    <a:pt x="330" y="0"/>
                  </a:lnTo>
                  <a:lnTo>
                    <a:pt x="335" y="0"/>
                  </a:lnTo>
                  <a:lnTo>
                    <a:pt x="341" y="6"/>
                  </a:lnTo>
                  <a:lnTo>
                    <a:pt x="346" y="17"/>
                  </a:lnTo>
                  <a:lnTo>
                    <a:pt x="335" y="22"/>
                  </a:lnTo>
                  <a:lnTo>
                    <a:pt x="335" y="28"/>
                  </a:lnTo>
                  <a:lnTo>
                    <a:pt x="319" y="33"/>
                  </a:lnTo>
                  <a:lnTo>
                    <a:pt x="308" y="33"/>
                  </a:lnTo>
                  <a:lnTo>
                    <a:pt x="297" y="55"/>
                  </a:lnTo>
                  <a:lnTo>
                    <a:pt x="286" y="61"/>
                  </a:lnTo>
                  <a:lnTo>
                    <a:pt x="280" y="66"/>
                  </a:lnTo>
                  <a:lnTo>
                    <a:pt x="280" y="72"/>
                  </a:lnTo>
                  <a:lnTo>
                    <a:pt x="269" y="88"/>
                  </a:lnTo>
                  <a:lnTo>
                    <a:pt x="269" y="105"/>
                  </a:lnTo>
                  <a:lnTo>
                    <a:pt x="264" y="110"/>
                  </a:lnTo>
                  <a:lnTo>
                    <a:pt x="264" y="121"/>
                  </a:lnTo>
                  <a:lnTo>
                    <a:pt x="247" y="149"/>
                  </a:lnTo>
                  <a:lnTo>
                    <a:pt x="253" y="149"/>
                  </a:lnTo>
                  <a:lnTo>
                    <a:pt x="264" y="143"/>
                  </a:lnTo>
                  <a:lnTo>
                    <a:pt x="269" y="149"/>
                  </a:lnTo>
                  <a:lnTo>
                    <a:pt x="264" y="149"/>
                  </a:lnTo>
                  <a:lnTo>
                    <a:pt x="269" y="154"/>
                  </a:lnTo>
                  <a:lnTo>
                    <a:pt x="275" y="149"/>
                  </a:lnTo>
                  <a:lnTo>
                    <a:pt x="275" y="154"/>
                  </a:lnTo>
                  <a:lnTo>
                    <a:pt x="280" y="176"/>
                  </a:lnTo>
                  <a:lnTo>
                    <a:pt x="291" y="187"/>
                  </a:lnTo>
                  <a:lnTo>
                    <a:pt x="291" y="193"/>
                  </a:lnTo>
                  <a:lnTo>
                    <a:pt x="291" y="198"/>
                  </a:lnTo>
                  <a:lnTo>
                    <a:pt x="291" y="204"/>
                  </a:lnTo>
                  <a:lnTo>
                    <a:pt x="286" y="204"/>
                  </a:lnTo>
                  <a:lnTo>
                    <a:pt x="286" y="209"/>
                  </a:lnTo>
                  <a:lnTo>
                    <a:pt x="286" y="226"/>
                  </a:lnTo>
                  <a:lnTo>
                    <a:pt x="291" y="231"/>
                  </a:lnTo>
                  <a:lnTo>
                    <a:pt x="297" y="231"/>
                  </a:lnTo>
                  <a:lnTo>
                    <a:pt x="302" y="242"/>
                  </a:lnTo>
                  <a:lnTo>
                    <a:pt x="308" y="248"/>
                  </a:lnTo>
                  <a:lnTo>
                    <a:pt x="313" y="248"/>
                  </a:lnTo>
                  <a:lnTo>
                    <a:pt x="319" y="248"/>
                  </a:lnTo>
                  <a:lnTo>
                    <a:pt x="324" y="248"/>
                  </a:lnTo>
                  <a:lnTo>
                    <a:pt x="330" y="248"/>
                  </a:lnTo>
                  <a:lnTo>
                    <a:pt x="341" y="248"/>
                  </a:lnTo>
                  <a:lnTo>
                    <a:pt x="341" y="253"/>
                  </a:lnTo>
                  <a:lnTo>
                    <a:pt x="346" y="248"/>
                  </a:lnTo>
                  <a:lnTo>
                    <a:pt x="352" y="248"/>
                  </a:lnTo>
                  <a:lnTo>
                    <a:pt x="357" y="248"/>
                  </a:lnTo>
                  <a:lnTo>
                    <a:pt x="363" y="248"/>
                  </a:lnTo>
                  <a:lnTo>
                    <a:pt x="368" y="248"/>
                  </a:lnTo>
                  <a:lnTo>
                    <a:pt x="374" y="248"/>
                  </a:lnTo>
                  <a:lnTo>
                    <a:pt x="379" y="253"/>
                  </a:lnTo>
                  <a:lnTo>
                    <a:pt x="390" y="248"/>
                  </a:lnTo>
                  <a:lnTo>
                    <a:pt x="418" y="292"/>
                  </a:lnTo>
                  <a:lnTo>
                    <a:pt x="423" y="286"/>
                  </a:lnTo>
                  <a:lnTo>
                    <a:pt x="429" y="292"/>
                  </a:lnTo>
                  <a:lnTo>
                    <a:pt x="434" y="286"/>
                  </a:lnTo>
                  <a:lnTo>
                    <a:pt x="456" y="292"/>
                  </a:lnTo>
                  <a:lnTo>
                    <a:pt x="456" y="286"/>
                  </a:lnTo>
                  <a:lnTo>
                    <a:pt x="478" y="286"/>
                  </a:lnTo>
                  <a:lnTo>
                    <a:pt x="484" y="286"/>
                  </a:lnTo>
                  <a:lnTo>
                    <a:pt x="489" y="281"/>
                  </a:lnTo>
                  <a:lnTo>
                    <a:pt x="500" y="281"/>
                  </a:lnTo>
                  <a:lnTo>
                    <a:pt x="506" y="286"/>
                  </a:lnTo>
                  <a:lnTo>
                    <a:pt x="506" y="292"/>
                  </a:lnTo>
                  <a:lnTo>
                    <a:pt x="506" y="297"/>
                  </a:lnTo>
                  <a:lnTo>
                    <a:pt x="500" y="303"/>
                  </a:lnTo>
                  <a:lnTo>
                    <a:pt x="495" y="308"/>
                  </a:lnTo>
                  <a:lnTo>
                    <a:pt x="500" y="319"/>
                  </a:lnTo>
                  <a:lnTo>
                    <a:pt x="489" y="325"/>
                  </a:lnTo>
                  <a:lnTo>
                    <a:pt x="489" y="330"/>
                  </a:lnTo>
                  <a:lnTo>
                    <a:pt x="489" y="336"/>
                  </a:lnTo>
                  <a:lnTo>
                    <a:pt x="489" y="341"/>
                  </a:lnTo>
                  <a:lnTo>
                    <a:pt x="489" y="352"/>
                  </a:lnTo>
                  <a:lnTo>
                    <a:pt x="489" y="363"/>
                  </a:lnTo>
                  <a:lnTo>
                    <a:pt x="489" y="369"/>
                  </a:lnTo>
                  <a:lnTo>
                    <a:pt x="489" y="374"/>
                  </a:lnTo>
                  <a:lnTo>
                    <a:pt x="495" y="385"/>
                  </a:lnTo>
                  <a:lnTo>
                    <a:pt x="495" y="391"/>
                  </a:lnTo>
                  <a:lnTo>
                    <a:pt x="495" y="396"/>
                  </a:lnTo>
                  <a:lnTo>
                    <a:pt x="500" y="402"/>
                  </a:lnTo>
                  <a:lnTo>
                    <a:pt x="506" y="402"/>
                  </a:lnTo>
                  <a:lnTo>
                    <a:pt x="511" y="413"/>
                  </a:lnTo>
                  <a:lnTo>
                    <a:pt x="511" y="424"/>
                  </a:lnTo>
                  <a:lnTo>
                    <a:pt x="489" y="440"/>
                  </a:lnTo>
                  <a:lnTo>
                    <a:pt x="489" y="446"/>
                  </a:lnTo>
                  <a:lnTo>
                    <a:pt x="495" y="440"/>
                  </a:lnTo>
                  <a:lnTo>
                    <a:pt x="500" y="446"/>
                  </a:lnTo>
                  <a:lnTo>
                    <a:pt x="500" y="451"/>
                  </a:lnTo>
                  <a:lnTo>
                    <a:pt x="506" y="451"/>
                  </a:lnTo>
                  <a:lnTo>
                    <a:pt x="517" y="468"/>
                  </a:lnTo>
                  <a:lnTo>
                    <a:pt x="517" y="473"/>
                  </a:lnTo>
                  <a:lnTo>
                    <a:pt x="522" y="473"/>
                  </a:lnTo>
                  <a:lnTo>
                    <a:pt x="517" y="479"/>
                  </a:lnTo>
                  <a:lnTo>
                    <a:pt x="528" y="495"/>
                  </a:lnTo>
                  <a:lnTo>
                    <a:pt x="528" y="501"/>
                  </a:lnTo>
                  <a:lnTo>
                    <a:pt x="528" y="512"/>
                  </a:lnTo>
                  <a:lnTo>
                    <a:pt x="533" y="517"/>
                  </a:lnTo>
                  <a:lnTo>
                    <a:pt x="522" y="517"/>
                  </a:lnTo>
                  <a:lnTo>
                    <a:pt x="522" y="495"/>
                  </a:lnTo>
                  <a:lnTo>
                    <a:pt x="511" y="473"/>
                  </a:lnTo>
                  <a:lnTo>
                    <a:pt x="506" y="473"/>
                  </a:lnTo>
                  <a:lnTo>
                    <a:pt x="500" y="473"/>
                  </a:lnTo>
                  <a:lnTo>
                    <a:pt x="495" y="479"/>
                  </a:lnTo>
                  <a:lnTo>
                    <a:pt x="489" y="490"/>
                  </a:lnTo>
                  <a:lnTo>
                    <a:pt x="484" y="490"/>
                  </a:lnTo>
                  <a:lnTo>
                    <a:pt x="478" y="484"/>
                  </a:lnTo>
                  <a:lnTo>
                    <a:pt x="473" y="484"/>
                  </a:lnTo>
                  <a:lnTo>
                    <a:pt x="473" y="479"/>
                  </a:lnTo>
                  <a:lnTo>
                    <a:pt x="467" y="490"/>
                  </a:lnTo>
                  <a:lnTo>
                    <a:pt x="473" y="490"/>
                  </a:lnTo>
                  <a:lnTo>
                    <a:pt x="473" y="495"/>
                  </a:lnTo>
                  <a:lnTo>
                    <a:pt x="423" y="490"/>
                  </a:lnTo>
                  <a:lnTo>
                    <a:pt x="412" y="490"/>
                  </a:lnTo>
                  <a:lnTo>
                    <a:pt x="407" y="490"/>
                  </a:lnTo>
                  <a:lnTo>
                    <a:pt x="401" y="495"/>
                  </a:lnTo>
                  <a:lnTo>
                    <a:pt x="401" y="523"/>
                  </a:lnTo>
                  <a:lnTo>
                    <a:pt x="407" y="523"/>
                  </a:lnTo>
                  <a:lnTo>
                    <a:pt x="418" y="523"/>
                  </a:lnTo>
                  <a:lnTo>
                    <a:pt x="418" y="528"/>
                  </a:lnTo>
                  <a:lnTo>
                    <a:pt x="423" y="523"/>
                  </a:lnTo>
                  <a:lnTo>
                    <a:pt x="429" y="528"/>
                  </a:lnTo>
                  <a:lnTo>
                    <a:pt x="434" y="534"/>
                  </a:lnTo>
                  <a:lnTo>
                    <a:pt x="429" y="534"/>
                  </a:lnTo>
                  <a:lnTo>
                    <a:pt x="434" y="539"/>
                  </a:lnTo>
                  <a:lnTo>
                    <a:pt x="429" y="539"/>
                  </a:lnTo>
                  <a:lnTo>
                    <a:pt x="434" y="545"/>
                  </a:lnTo>
                  <a:lnTo>
                    <a:pt x="423" y="545"/>
                  </a:lnTo>
                  <a:lnTo>
                    <a:pt x="423" y="539"/>
                  </a:lnTo>
                  <a:lnTo>
                    <a:pt x="423" y="545"/>
                  </a:lnTo>
                  <a:lnTo>
                    <a:pt x="418" y="539"/>
                  </a:lnTo>
                  <a:lnTo>
                    <a:pt x="412" y="539"/>
                  </a:lnTo>
                  <a:lnTo>
                    <a:pt x="412" y="545"/>
                  </a:lnTo>
                  <a:lnTo>
                    <a:pt x="407" y="539"/>
                  </a:lnTo>
                  <a:lnTo>
                    <a:pt x="401" y="545"/>
                  </a:lnTo>
                  <a:lnTo>
                    <a:pt x="396" y="545"/>
                  </a:lnTo>
                  <a:lnTo>
                    <a:pt x="390" y="545"/>
                  </a:lnTo>
                  <a:lnTo>
                    <a:pt x="390" y="578"/>
                  </a:lnTo>
                  <a:lnTo>
                    <a:pt x="396" y="589"/>
                  </a:lnTo>
                  <a:lnTo>
                    <a:pt x="401" y="589"/>
                  </a:lnTo>
                  <a:lnTo>
                    <a:pt x="407" y="594"/>
                  </a:lnTo>
                  <a:lnTo>
                    <a:pt x="412" y="594"/>
                  </a:lnTo>
                  <a:lnTo>
                    <a:pt x="412" y="600"/>
                  </a:lnTo>
                  <a:lnTo>
                    <a:pt x="412" y="605"/>
                  </a:lnTo>
                  <a:lnTo>
                    <a:pt x="412" y="611"/>
                  </a:lnTo>
                  <a:lnTo>
                    <a:pt x="418" y="616"/>
                  </a:lnTo>
                  <a:lnTo>
                    <a:pt x="418" y="622"/>
                  </a:lnTo>
                  <a:lnTo>
                    <a:pt x="423" y="627"/>
                  </a:lnTo>
                  <a:lnTo>
                    <a:pt x="423" y="638"/>
                  </a:lnTo>
                  <a:lnTo>
                    <a:pt x="418" y="644"/>
                  </a:lnTo>
                  <a:lnTo>
                    <a:pt x="396" y="765"/>
                  </a:lnTo>
                  <a:lnTo>
                    <a:pt x="390" y="759"/>
                  </a:lnTo>
                  <a:lnTo>
                    <a:pt x="385" y="754"/>
                  </a:lnTo>
                  <a:lnTo>
                    <a:pt x="379" y="748"/>
                  </a:lnTo>
                  <a:lnTo>
                    <a:pt x="374" y="754"/>
                  </a:lnTo>
                  <a:lnTo>
                    <a:pt x="368" y="748"/>
                  </a:lnTo>
                  <a:lnTo>
                    <a:pt x="363" y="748"/>
                  </a:lnTo>
                  <a:lnTo>
                    <a:pt x="390" y="699"/>
                  </a:lnTo>
                  <a:lnTo>
                    <a:pt x="390" y="693"/>
                  </a:lnTo>
                  <a:lnTo>
                    <a:pt x="385" y="693"/>
                  </a:lnTo>
                  <a:lnTo>
                    <a:pt x="385" y="688"/>
                  </a:lnTo>
                  <a:lnTo>
                    <a:pt x="379" y="688"/>
                  </a:lnTo>
                  <a:lnTo>
                    <a:pt x="374" y="688"/>
                  </a:lnTo>
                  <a:lnTo>
                    <a:pt x="368" y="682"/>
                  </a:lnTo>
                  <a:lnTo>
                    <a:pt x="368" y="688"/>
                  </a:lnTo>
                  <a:lnTo>
                    <a:pt x="368" y="682"/>
                  </a:lnTo>
                  <a:lnTo>
                    <a:pt x="363" y="682"/>
                  </a:lnTo>
                  <a:lnTo>
                    <a:pt x="357" y="677"/>
                  </a:lnTo>
                  <a:lnTo>
                    <a:pt x="352" y="677"/>
                  </a:lnTo>
                  <a:lnTo>
                    <a:pt x="346" y="677"/>
                  </a:lnTo>
                  <a:lnTo>
                    <a:pt x="346" y="682"/>
                  </a:lnTo>
                  <a:lnTo>
                    <a:pt x="341" y="682"/>
                  </a:lnTo>
                  <a:lnTo>
                    <a:pt x="335" y="682"/>
                  </a:lnTo>
                  <a:lnTo>
                    <a:pt x="330" y="682"/>
                  </a:lnTo>
                  <a:lnTo>
                    <a:pt x="330" y="677"/>
                  </a:lnTo>
                  <a:lnTo>
                    <a:pt x="330" y="682"/>
                  </a:lnTo>
                  <a:lnTo>
                    <a:pt x="330" y="677"/>
                  </a:lnTo>
                  <a:lnTo>
                    <a:pt x="324" y="677"/>
                  </a:lnTo>
                  <a:lnTo>
                    <a:pt x="324" y="671"/>
                  </a:lnTo>
                  <a:lnTo>
                    <a:pt x="319" y="671"/>
                  </a:lnTo>
                  <a:lnTo>
                    <a:pt x="313" y="671"/>
                  </a:lnTo>
                  <a:lnTo>
                    <a:pt x="313" y="677"/>
                  </a:lnTo>
                  <a:lnTo>
                    <a:pt x="308" y="677"/>
                  </a:lnTo>
                  <a:lnTo>
                    <a:pt x="308" y="682"/>
                  </a:lnTo>
                  <a:lnTo>
                    <a:pt x="302" y="682"/>
                  </a:lnTo>
                  <a:lnTo>
                    <a:pt x="297" y="682"/>
                  </a:lnTo>
                  <a:lnTo>
                    <a:pt x="291" y="688"/>
                  </a:lnTo>
                  <a:lnTo>
                    <a:pt x="291" y="682"/>
                  </a:lnTo>
                  <a:lnTo>
                    <a:pt x="286" y="682"/>
                  </a:lnTo>
                  <a:lnTo>
                    <a:pt x="280" y="682"/>
                  </a:lnTo>
                  <a:lnTo>
                    <a:pt x="275" y="682"/>
                  </a:lnTo>
                  <a:lnTo>
                    <a:pt x="269" y="682"/>
                  </a:lnTo>
                  <a:lnTo>
                    <a:pt x="264" y="682"/>
                  </a:lnTo>
                  <a:lnTo>
                    <a:pt x="264" y="677"/>
                  </a:lnTo>
                  <a:lnTo>
                    <a:pt x="258" y="682"/>
                  </a:lnTo>
                  <a:lnTo>
                    <a:pt x="258" y="677"/>
                  </a:lnTo>
                  <a:lnTo>
                    <a:pt x="253" y="677"/>
                  </a:lnTo>
                  <a:lnTo>
                    <a:pt x="253" y="671"/>
                  </a:lnTo>
                  <a:lnTo>
                    <a:pt x="258" y="671"/>
                  </a:lnTo>
                  <a:lnTo>
                    <a:pt x="258" y="660"/>
                  </a:lnTo>
                  <a:lnTo>
                    <a:pt x="258" y="655"/>
                  </a:lnTo>
                  <a:lnTo>
                    <a:pt x="253" y="655"/>
                  </a:lnTo>
                  <a:lnTo>
                    <a:pt x="247" y="655"/>
                  </a:lnTo>
                  <a:lnTo>
                    <a:pt x="242" y="649"/>
                  </a:lnTo>
                  <a:lnTo>
                    <a:pt x="242" y="644"/>
                  </a:lnTo>
                  <a:lnTo>
                    <a:pt x="236" y="638"/>
                  </a:lnTo>
                  <a:lnTo>
                    <a:pt x="236" y="633"/>
                  </a:lnTo>
                  <a:lnTo>
                    <a:pt x="231" y="627"/>
                  </a:lnTo>
                  <a:lnTo>
                    <a:pt x="225" y="627"/>
                  </a:lnTo>
                  <a:lnTo>
                    <a:pt x="220" y="622"/>
                  </a:lnTo>
                  <a:lnTo>
                    <a:pt x="214" y="622"/>
                  </a:lnTo>
                  <a:lnTo>
                    <a:pt x="209" y="622"/>
                  </a:lnTo>
                  <a:lnTo>
                    <a:pt x="209" y="616"/>
                  </a:lnTo>
                  <a:lnTo>
                    <a:pt x="209" y="611"/>
                  </a:lnTo>
                  <a:lnTo>
                    <a:pt x="203" y="611"/>
                  </a:lnTo>
                  <a:lnTo>
                    <a:pt x="209" y="611"/>
                  </a:lnTo>
                  <a:lnTo>
                    <a:pt x="203" y="605"/>
                  </a:lnTo>
                  <a:lnTo>
                    <a:pt x="203" y="600"/>
                  </a:lnTo>
                  <a:lnTo>
                    <a:pt x="198" y="600"/>
                  </a:lnTo>
                  <a:lnTo>
                    <a:pt x="198" y="594"/>
                  </a:lnTo>
                  <a:lnTo>
                    <a:pt x="192" y="589"/>
                  </a:lnTo>
                  <a:lnTo>
                    <a:pt x="187" y="589"/>
                  </a:lnTo>
                  <a:lnTo>
                    <a:pt x="187" y="583"/>
                  </a:lnTo>
                  <a:lnTo>
                    <a:pt x="187" y="578"/>
                  </a:lnTo>
                  <a:lnTo>
                    <a:pt x="181" y="578"/>
                  </a:lnTo>
                  <a:lnTo>
                    <a:pt x="181" y="583"/>
                  </a:lnTo>
                  <a:lnTo>
                    <a:pt x="176" y="578"/>
                  </a:lnTo>
                  <a:lnTo>
                    <a:pt x="170" y="578"/>
                  </a:lnTo>
                  <a:lnTo>
                    <a:pt x="165" y="572"/>
                  </a:lnTo>
                  <a:lnTo>
                    <a:pt x="165" y="578"/>
                  </a:lnTo>
                  <a:lnTo>
                    <a:pt x="159" y="578"/>
                  </a:lnTo>
                  <a:lnTo>
                    <a:pt x="148" y="567"/>
                  </a:lnTo>
                  <a:lnTo>
                    <a:pt x="143" y="567"/>
                  </a:lnTo>
                  <a:lnTo>
                    <a:pt x="137" y="567"/>
                  </a:lnTo>
                  <a:lnTo>
                    <a:pt x="132" y="556"/>
                  </a:lnTo>
                  <a:lnTo>
                    <a:pt x="126" y="556"/>
                  </a:lnTo>
                  <a:lnTo>
                    <a:pt x="121" y="550"/>
                  </a:lnTo>
                  <a:lnTo>
                    <a:pt x="115" y="556"/>
                  </a:lnTo>
                  <a:lnTo>
                    <a:pt x="115" y="561"/>
                  </a:lnTo>
                  <a:lnTo>
                    <a:pt x="110" y="561"/>
                  </a:lnTo>
                  <a:lnTo>
                    <a:pt x="104" y="561"/>
                  </a:lnTo>
                  <a:lnTo>
                    <a:pt x="99" y="561"/>
                  </a:lnTo>
                  <a:lnTo>
                    <a:pt x="93" y="561"/>
                  </a:lnTo>
                  <a:lnTo>
                    <a:pt x="88" y="561"/>
                  </a:lnTo>
                  <a:lnTo>
                    <a:pt x="88" y="556"/>
                  </a:lnTo>
                  <a:lnTo>
                    <a:pt x="82" y="556"/>
                  </a:lnTo>
                  <a:lnTo>
                    <a:pt x="77" y="556"/>
                  </a:lnTo>
                  <a:lnTo>
                    <a:pt x="71" y="556"/>
                  </a:lnTo>
                  <a:lnTo>
                    <a:pt x="71" y="550"/>
                  </a:lnTo>
                  <a:lnTo>
                    <a:pt x="71" y="545"/>
                  </a:lnTo>
                  <a:lnTo>
                    <a:pt x="71" y="539"/>
                  </a:lnTo>
                  <a:lnTo>
                    <a:pt x="66" y="545"/>
                  </a:lnTo>
                  <a:lnTo>
                    <a:pt x="60" y="539"/>
                  </a:lnTo>
                  <a:lnTo>
                    <a:pt x="60" y="534"/>
                  </a:lnTo>
                  <a:lnTo>
                    <a:pt x="55" y="534"/>
                  </a:lnTo>
                  <a:lnTo>
                    <a:pt x="49" y="534"/>
                  </a:lnTo>
                  <a:lnTo>
                    <a:pt x="44" y="528"/>
                  </a:lnTo>
                  <a:lnTo>
                    <a:pt x="38" y="528"/>
                  </a:lnTo>
                  <a:lnTo>
                    <a:pt x="33" y="523"/>
                  </a:lnTo>
                  <a:lnTo>
                    <a:pt x="27" y="517"/>
                  </a:lnTo>
                  <a:lnTo>
                    <a:pt x="22" y="517"/>
                  </a:lnTo>
                  <a:lnTo>
                    <a:pt x="22" y="512"/>
                  </a:lnTo>
                  <a:lnTo>
                    <a:pt x="16" y="512"/>
                  </a:lnTo>
                  <a:lnTo>
                    <a:pt x="11" y="506"/>
                  </a:lnTo>
                  <a:lnTo>
                    <a:pt x="5" y="506"/>
                  </a:lnTo>
                  <a:lnTo>
                    <a:pt x="11" y="501"/>
                  </a:lnTo>
                  <a:lnTo>
                    <a:pt x="5" y="501"/>
                  </a:lnTo>
                  <a:lnTo>
                    <a:pt x="0" y="501"/>
                  </a:lnTo>
                  <a:lnTo>
                    <a:pt x="0" y="495"/>
                  </a:lnTo>
                  <a:lnTo>
                    <a:pt x="5" y="490"/>
                  </a:lnTo>
                  <a:lnTo>
                    <a:pt x="11" y="490"/>
                  </a:lnTo>
                  <a:lnTo>
                    <a:pt x="16" y="490"/>
                  </a:lnTo>
                  <a:lnTo>
                    <a:pt x="22" y="490"/>
                  </a:lnTo>
                  <a:lnTo>
                    <a:pt x="22" y="484"/>
                  </a:lnTo>
                  <a:lnTo>
                    <a:pt x="22" y="479"/>
                  </a:lnTo>
                  <a:lnTo>
                    <a:pt x="16" y="479"/>
                  </a:lnTo>
                  <a:lnTo>
                    <a:pt x="16" y="473"/>
                  </a:lnTo>
                  <a:lnTo>
                    <a:pt x="16" y="468"/>
                  </a:lnTo>
                  <a:lnTo>
                    <a:pt x="16" y="462"/>
                  </a:lnTo>
                  <a:lnTo>
                    <a:pt x="22" y="462"/>
                  </a:lnTo>
                  <a:lnTo>
                    <a:pt x="27" y="462"/>
                  </a:lnTo>
                  <a:lnTo>
                    <a:pt x="27" y="457"/>
                  </a:lnTo>
                  <a:lnTo>
                    <a:pt x="33" y="462"/>
                  </a:lnTo>
                  <a:lnTo>
                    <a:pt x="33" y="457"/>
                  </a:lnTo>
                  <a:lnTo>
                    <a:pt x="38" y="457"/>
                  </a:lnTo>
                  <a:lnTo>
                    <a:pt x="44" y="457"/>
                  </a:lnTo>
                  <a:lnTo>
                    <a:pt x="49" y="457"/>
                  </a:lnTo>
                  <a:lnTo>
                    <a:pt x="49" y="451"/>
                  </a:lnTo>
                  <a:lnTo>
                    <a:pt x="55" y="457"/>
                  </a:lnTo>
                  <a:lnTo>
                    <a:pt x="55" y="451"/>
                  </a:lnTo>
                  <a:lnTo>
                    <a:pt x="55" y="446"/>
                  </a:lnTo>
                  <a:lnTo>
                    <a:pt x="55" y="440"/>
                  </a:lnTo>
                  <a:lnTo>
                    <a:pt x="60" y="446"/>
                  </a:lnTo>
                  <a:lnTo>
                    <a:pt x="60" y="440"/>
                  </a:lnTo>
                  <a:lnTo>
                    <a:pt x="55" y="440"/>
                  </a:lnTo>
                  <a:lnTo>
                    <a:pt x="60" y="440"/>
                  </a:lnTo>
                  <a:lnTo>
                    <a:pt x="60" y="435"/>
                  </a:lnTo>
                  <a:lnTo>
                    <a:pt x="60" y="440"/>
                  </a:lnTo>
                  <a:lnTo>
                    <a:pt x="60" y="435"/>
                  </a:lnTo>
                  <a:lnTo>
                    <a:pt x="60" y="429"/>
                  </a:lnTo>
                  <a:lnTo>
                    <a:pt x="60" y="435"/>
                  </a:lnTo>
                  <a:lnTo>
                    <a:pt x="66" y="429"/>
                  </a:lnTo>
                  <a:lnTo>
                    <a:pt x="66" y="424"/>
                  </a:lnTo>
                  <a:lnTo>
                    <a:pt x="71" y="424"/>
                  </a:lnTo>
                  <a:lnTo>
                    <a:pt x="71" y="418"/>
                  </a:lnTo>
                  <a:lnTo>
                    <a:pt x="77" y="418"/>
                  </a:lnTo>
                  <a:lnTo>
                    <a:pt x="71" y="413"/>
                  </a:lnTo>
                  <a:lnTo>
                    <a:pt x="77" y="413"/>
                  </a:lnTo>
                  <a:lnTo>
                    <a:pt x="77" y="407"/>
                  </a:lnTo>
                  <a:lnTo>
                    <a:pt x="82" y="407"/>
                  </a:lnTo>
                  <a:lnTo>
                    <a:pt x="77" y="407"/>
                  </a:lnTo>
                  <a:lnTo>
                    <a:pt x="82" y="407"/>
                  </a:lnTo>
                  <a:lnTo>
                    <a:pt x="82" y="402"/>
                  </a:lnTo>
                  <a:lnTo>
                    <a:pt x="82" y="396"/>
                  </a:lnTo>
                  <a:lnTo>
                    <a:pt x="82" y="402"/>
                  </a:lnTo>
                  <a:lnTo>
                    <a:pt x="82" y="396"/>
                  </a:lnTo>
                  <a:lnTo>
                    <a:pt x="88" y="396"/>
                  </a:lnTo>
                  <a:lnTo>
                    <a:pt x="82" y="396"/>
                  </a:lnTo>
                  <a:lnTo>
                    <a:pt x="88" y="396"/>
                  </a:lnTo>
                  <a:lnTo>
                    <a:pt x="88" y="391"/>
                  </a:lnTo>
                  <a:lnTo>
                    <a:pt x="82" y="391"/>
                  </a:lnTo>
                  <a:lnTo>
                    <a:pt x="82" y="396"/>
                  </a:lnTo>
                  <a:lnTo>
                    <a:pt x="77" y="396"/>
                  </a:lnTo>
                  <a:lnTo>
                    <a:pt x="77" y="391"/>
                  </a:lnTo>
                  <a:lnTo>
                    <a:pt x="82" y="391"/>
                  </a:lnTo>
                  <a:lnTo>
                    <a:pt x="77" y="391"/>
                  </a:lnTo>
                  <a:lnTo>
                    <a:pt x="82" y="385"/>
                  </a:lnTo>
                  <a:lnTo>
                    <a:pt x="77" y="385"/>
                  </a:lnTo>
                  <a:lnTo>
                    <a:pt x="77" y="391"/>
                  </a:lnTo>
                  <a:lnTo>
                    <a:pt x="71" y="391"/>
                  </a:lnTo>
                  <a:lnTo>
                    <a:pt x="71" y="385"/>
                  </a:lnTo>
                  <a:lnTo>
                    <a:pt x="71" y="380"/>
                  </a:lnTo>
                  <a:lnTo>
                    <a:pt x="77" y="380"/>
                  </a:lnTo>
                  <a:lnTo>
                    <a:pt x="77" y="374"/>
                  </a:lnTo>
                  <a:lnTo>
                    <a:pt x="71" y="374"/>
                  </a:lnTo>
                  <a:lnTo>
                    <a:pt x="77" y="369"/>
                  </a:lnTo>
                  <a:lnTo>
                    <a:pt x="77" y="363"/>
                  </a:lnTo>
                  <a:lnTo>
                    <a:pt x="77" y="358"/>
                  </a:lnTo>
                  <a:lnTo>
                    <a:pt x="77" y="352"/>
                  </a:lnTo>
                  <a:lnTo>
                    <a:pt x="77" y="347"/>
                  </a:lnTo>
                  <a:lnTo>
                    <a:pt x="71" y="336"/>
                  </a:lnTo>
                  <a:lnTo>
                    <a:pt x="77" y="330"/>
                  </a:lnTo>
                  <a:lnTo>
                    <a:pt x="71" y="330"/>
                  </a:lnTo>
                  <a:lnTo>
                    <a:pt x="71" y="325"/>
                  </a:lnTo>
                  <a:lnTo>
                    <a:pt x="71" y="319"/>
                  </a:lnTo>
                  <a:lnTo>
                    <a:pt x="66" y="319"/>
                  </a:lnTo>
                  <a:lnTo>
                    <a:pt x="66" y="314"/>
                  </a:lnTo>
                  <a:lnTo>
                    <a:pt x="71" y="314"/>
                  </a:lnTo>
                  <a:lnTo>
                    <a:pt x="77" y="314"/>
                  </a:lnTo>
                  <a:lnTo>
                    <a:pt x="77" y="308"/>
                  </a:lnTo>
                  <a:lnTo>
                    <a:pt x="77" y="303"/>
                  </a:lnTo>
                  <a:lnTo>
                    <a:pt x="77" y="297"/>
                  </a:lnTo>
                  <a:lnTo>
                    <a:pt x="71" y="297"/>
                  </a:lnTo>
                  <a:lnTo>
                    <a:pt x="71" y="292"/>
                  </a:lnTo>
                  <a:lnTo>
                    <a:pt x="71" y="286"/>
                  </a:lnTo>
                  <a:lnTo>
                    <a:pt x="71" y="281"/>
                  </a:lnTo>
                  <a:lnTo>
                    <a:pt x="71" y="286"/>
                  </a:lnTo>
                  <a:lnTo>
                    <a:pt x="71" y="281"/>
                  </a:lnTo>
                  <a:lnTo>
                    <a:pt x="71" y="275"/>
                  </a:lnTo>
                  <a:lnTo>
                    <a:pt x="77" y="275"/>
                  </a:lnTo>
                  <a:lnTo>
                    <a:pt x="71" y="275"/>
                  </a:lnTo>
                  <a:lnTo>
                    <a:pt x="77" y="275"/>
                  </a:lnTo>
                  <a:lnTo>
                    <a:pt x="77" y="270"/>
                  </a:lnTo>
                  <a:lnTo>
                    <a:pt x="71" y="264"/>
                  </a:lnTo>
                  <a:lnTo>
                    <a:pt x="66" y="264"/>
                  </a:lnTo>
                  <a:lnTo>
                    <a:pt x="66" y="259"/>
                  </a:lnTo>
                  <a:lnTo>
                    <a:pt x="60" y="253"/>
                  </a:lnTo>
                  <a:lnTo>
                    <a:pt x="60" y="259"/>
                  </a:lnTo>
                  <a:lnTo>
                    <a:pt x="60" y="253"/>
                  </a:lnTo>
                  <a:lnTo>
                    <a:pt x="60" y="248"/>
                  </a:lnTo>
                  <a:lnTo>
                    <a:pt x="55" y="242"/>
                  </a:lnTo>
                  <a:lnTo>
                    <a:pt x="49" y="237"/>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sp>
          <p:nvSpPr>
            <p:cNvPr id="210" name="Freeform 6">
              <a:extLst>
                <a:ext uri="{FF2B5EF4-FFF2-40B4-BE49-F238E27FC236}">
                  <a16:creationId xmlns:a16="http://schemas.microsoft.com/office/drawing/2014/main" id="{4188EA2B-DBA9-473D-A42C-B713DAC09C8E}"/>
                </a:ext>
              </a:extLst>
            </p:cNvPr>
            <p:cNvSpPr>
              <a:spLocks/>
            </p:cNvSpPr>
            <p:nvPr/>
          </p:nvSpPr>
          <p:spPr bwMode="auto">
            <a:xfrm rot="21367780">
              <a:off x="4486977" y="1849836"/>
              <a:ext cx="220819" cy="295063"/>
            </a:xfrm>
            <a:custGeom>
              <a:avLst/>
              <a:gdLst>
                <a:gd name="T0" fmla="*/ 0 w 126"/>
                <a:gd name="T1" fmla="*/ 165 h 170"/>
                <a:gd name="T2" fmla="*/ 11 w 126"/>
                <a:gd name="T3" fmla="*/ 154 h 170"/>
                <a:gd name="T4" fmla="*/ 16 w 126"/>
                <a:gd name="T5" fmla="*/ 137 h 170"/>
                <a:gd name="T6" fmla="*/ 16 w 126"/>
                <a:gd name="T7" fmla="*/ 132 h 170"/>
                <a:gd name="T8" fmla="*/ 16 w 126"/>
                <a:gd name="T9" fmla="*/ 126 h 170"/>
                <a:gd name="T10" fmla="*/ 16 w 126"/>
                <a:gd name="T11" fmla="*/ 126 h 170"/>
                <a:gd name="T12" fmla="*/ 16 w 126"/>
                <a:gd name="T13" fmla="*/ 121 h 170"/>
                <a:gd name="T14" fmla="*/ 22 w 126"/>
                <a:gd name="T15" fmla="*/ 115 h 170"/>
                <a:gd name="T16" fmla="*/ 27 w 126"/>
                <a:gd name="T17" fmla="*/ 104 h 170"/>
                <a:gd name="T18" fmla="*/ 22 w 126"/>
                <a:gd name="T19" fmla="*/ 104 h 170"/>
                <a:gd name="T20" fmla="*/ 16 w 126"/>
                <a:gd name="T21" fmla="*/ 93 h 170"/>
                <a:gd name="T22" fmla="*/ 11 w 126"/>
                <a:gd name="T23" fmla="*/ 82 h 170"/>
                <a:gd name="T24" fmla="*/ 5 w 126"/>
                <a:gd name="T25" fmla="*/ 71 h 170"/>
                <a:gd name="T26" fmla="*/ 5 w 126"/>
                <a:gd name="T27" fmla="*/ 60 h 170"/>
                <a:gd name="T28" fmla="*/ 5 w 126"/>
                <a:gd name="T29" fmla="*/ 55 h 170"/>
                <a:gd name="T30" fmla="*/ 5 w 126"/>
                <a:gd name="T31" fmla="*/ 44 h 170"/>
                <a:gd name="T32" fmla="*/ 5 w 126"/>
                <a:gd name="T33" fmla="*/ 38 h 170"/>
                <a:gd name="T34" fmla="*/ 11 w 126"/>
                <a:gd name="T35" fmla="*/ 27 h 170"/>
                <a:gd name="T36" fmla="*/ 22 w 126"/>
                <a:gd name="T37" fmla="*/ 22 h 170"/>
                <a:gd name="T38" fmla="*/ 22 w 126"/>
                <a:gd name="T39" fmla="*/ 11 h 170"/>
                <a:gd name="T40" fmla="*/ 33 w 126"/>
                <a:gd name="T41" fmla="*/ 5 h 170"/>
                <a:gd name="T42" fmla="*/ 44 w 126"/>
                <a:gd name="T43" fmla="*/ 11 h 170"/>
                <a:gd name="T44" fmla="*/ 55 w 126"/>
                <a:gd name="T45" fmla="*/ 16 h 170"/>
                <a:gd name="T46" fmla="*/ 60 w 126"/>
                <a:gd name="T47" fmla="*/ 16 h 170"/>
                <a:gd name="T48" fmla="*/ 66 w 126"/>
                <a:gd name="T49" fmla="*/ 16 h 170"/>
                <a:gd name="T50" fmla="*/ 71 w 126"/>
                <a:gd name="T51" fmla="*/ 22 h 170"/>
                <a:gd name="T52" fmla="*/ 82 w 126"/>
                <a:gd name="T53" fmla="*/ 33 h 170"/>
                <a:gd name="T54" fmla="*/ 93 w 126"/>
                <a:gd name="T55" fmla="*/ 38 h 170"/>
                <a:gd name="T56" fmla="*/ 93 w 126"/>
                <a:gd name="T57" fmla="*/ 38 h 170"/>
                <a:gd name="T58" fmla="*/ 99 w 126"/>
                <a:gd name="T59" fmla="*/ 44 h 170"/>
                <a:gd name="T60" fmla="*/ 99 w 126"/>
                <a:gd name="T61" fmla="*/ 44 h 170"/>
                <a:gd name="T62" fmla="*/ 99 w 126"/>
                <a:gd name="T63" fmla="*/ 49 h 170"/>
                <a:gd name="T64" fmla="*/ 104 w 126"/>
                <a:gd name="T65" fmla="*/ 44 h 170"/>
                <a:gd name="T66" fmla="*/ 110 w 126"/>
                <a:gd name="T67" fmla="*/ 49 h 170"/>
                <a:gd name="T68" fmla="*/ 115 w 126"/>
                <a:gd name="T69" fmla="*/ 66 h 170"/>
                <a:gd name="T70" fmla="*/ 110 w 126"/>
                <a:gd name="T71" fmla="*/ 71 h 170"/>
                <a:gd name="T72" fmla="*/ 115 w 126"/>
                <a:gd name="T73" fmla="*/ 55 h 170"/>
                <a:gd name="T74" fmla="*/ 115 w 126"/>
                <a:gd name="T75" fmla="*/ 55 h 170"/>
                <a:gd name="T76" fmla="*/ 121 w 126"/>
                <a:gd name="T77" fmla="*/ 60 h 170"/>
                <a:gd name="T78" fmla="*/ 121 w 126"/>
                <a:gd name="T79" fmla="*/ 66 h 170"/>
                <a:gd name="T80" fmla="*/ 126 w 126"/>
                <a:gd name="T81" fmla="*/ 71 h 170"/>
                <a:gd name="T82" fmla="*/ 126 w 126"/>
                <a:gd name="T83" fmla="*/ 77 h 170"/>
                <a:gd name="T84" fmla="*/ 121 w 126"/>
                <a:gd name="T85" fmla="*/ 88 h 170"/>
                <a:gd name="T86" fmla="*/ 115 w 126"/>
                <a:gd name="T87" fmla="*/ 99 h 170"/>
                <a:gd name="T88" fmla="*/ 104 w 126"/>
                <a:gd name="T89" fmla="*/ 121 h 170"/>
                <a:gd name="T90" fmla="*/ 99 w 126"/>
                <a:gd name="T91" fmla="*/ 126 h 170"/>
                <a:gd name="T92" fmla="*/ 88 w 126"/>
                <a:gd name="T93" fmla="*/ 148 h 170"/>
                <a:gd name="T94" fmla="*/ 82 w 126"/>
                <a:gd name="T95" fmla="*/ 159 h 170"/>
                <a:gd name="T96" fmla="*/ 71 w 126"/>
                <a:gd name="T97" fmla="*/ 170 h 170"/>
                <a:gd name="T98" fmla="*/ 55 w 126"/>
                <a:gd name="T99" fmla="*/ 170 h 170"/>
                <a:gd name="T100" fmla="*/ 49 w 126"/>
                <a:gd name="T101" fmla="*/ 165 h 170"/>
                <a:gd name="T102" fmla="*/ 38 w 126"/>
                <a:gd name="T103" fmla="*/ 159 h 170"/>
                <a:gd name="T104" fmla="*/ 27 w 126"/>
                <a:gd name="T105" fmla="*/ 165 h 170"/>
                <a:gd name="T106" fmla="*/ 16 w 126"/>
                <a:gd name="T107" fmla="*/ 170 h 170"/>
                <a:gd name="T108" fmla="*/ 11 w 126"/>
                <a:gd name="T109" fmla="*/ 165 h 170"/>
                <a:gd name="T110" fmla="*/ 0 w 126"/>
                <a:gd name="T111" fmla="*/ 165 h 1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6"/>
                <a:gd name="T169" fmla="*/ 0 h 170"/>
                <a:gd name="T170" fmla="*/ 126 w 126"/>
                <a:gd name="T171" fmla="*/ 170 h 17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6" h="170">
                  <a:moveTo>
                    <a:pt x="0" y="165"/>
                  </a:moveTo>
                  <a:lnTo>
                    <a:pt x="0" y="159"/>
                  </a:lnTo>
                  <a:lnTo>
                    <a:pt x="0" y="165"/>
                  </a:lnTo>
                  <a:lnTo>
                    <a:pt x="5" y="159"/>
                  </a:lnTo>
                  <a:lnTo>
                    <a:pt x="11" y="154"/>
                  </a:lnTo>
                  <a:lnTo>
                    <a:pt x="11" y="148"/>
                  </a:lnTo>
                  <a:lnTo>
                    <a:pt x="16" y="143"/>
                  </a:lnTo>
                  <a:lnTo>
                    <a:pt x="16" y="137"/>
                  </a:lnTo>
                  <a:lnTo>
                    <a:pt x="16" y="132"/>
                  </a:lnTo>
                  <a:lnTo>
                    <a:pt x="16" y="126"/>
                  </a:lnTo>
                  <a:lnTo>
                    <a:pt x="16" y="121"/>
                  </a:lnTo>
                  <a:lnTo>
                    <a:pt x="22" y="115"/>
                  </a:lnTo>
                  <a:lnTo>
                    <a:pt x="22" y="110"/>
                  </a:lnTo>
                  <a:lnTo>
                    <a:pt x="22" y="104"/>
                  </a:lnTo>
                  <a:lnTo>
                    <a:pt x="27" y="104"/>
                  </a:lnTo>
                  <a:lnTo>
                    <a:pt x="22" y="104"/>
                  </a:lnTo>
                  <a:lnTo>
                    <a:pt x="22" y="93"/>
                  </a:lnTo>
                  <a:lnTo>
                    <a:pt x="16" y="93"/>
                  </a:lnTo>
                  <a:lnTo>
                    <a:pt x="11" y="88"/>
                  </a:lnTo>
                  <a:lnTo>
                    <a:pt x="11" y="82"/>
                  </a:lnTo>
                  <a:lnTo>
                    <a:pt x="11" y="77"/>
                  </a:lnTo>
                  <a:lnTo>
                    <a:pt x="5" y="77"/>
                  </a:lnTo>
                  <a:lnTo>
                    <a:pt x="5" y="71"/>
                  </a:lnTo>
                  <a:lnTo>
                    <a:pt x="5" y="66"/>
                  </a:lnTo>
                  <a:lnTo>
                    <a:pt x="5" y="60"/>
                  </a:lnTo>
                  <a:lnTo>
                    <a:pt x="5" y="55"/>
                  </a:lnTo>
                  <a:lnTo>
                    <a:pt x="5" y="49"/>
                  </a:lnTo>
                  <a:lnTo>
                    <a:pt x="5" y="44"/>
                  </a:lnTo>
                  <a:lnTo>
                    <a:pt x="5" y="38"/>
                  </a:lnTo>
                  <a:lnTo>
                    <a:pt x="11" y="33"/>
                  </a:lnTo>
                  <a:lnTo>
                    <a:pt x="11" y="27"/>
                  </a:lnTo>
                  <a:lnTo>
                    <a:pt x="16" y="27"/>
                  </a:lnTo>
                  <a:lnTo>
                    <a:pt x="16" y="22"/>
                  </a:lnTo>
                  <a:lnTo>
                    <a:pt x="22" y="22"/>
                  </a:lnTo>
                  <a:lnTo>
                    <a:pt x="22" y="16"/>
                  </a:lnTo>
                  <a:lnTo>
                    <a:pt x="22" y="11"/>
                  </a:lnTo>
                  <a:lnTo>
                    <a:pt x="27" y="5"/>
                  </a:lnTo>
                  <a:lnTo>
                    <a:pt x="27" y="0"/>
                  </a:lnTo>
                  <a:lnTo>
                    <a:pt x="33" y="5"/>
                  </a:lnTo>
                  <a:lnTo>
                    <a:pt x="38" y="5"/>
                  </a:lnTo>
                  <a:lnTo>
                    <a:pt x="44" y="11"/>
                  </a:lnTo>
                  <a:lnTo>
                    <a:pt x="49" y="11"/>
                  </a:lnTo>
                  <a:lnTo>
                    <a:pt x="49" y="16"/>
                  </a:lnTo>
                  <a:lnTo>
                    <a:pt x="55" y="16"/>
                  </a:lnTo>
                  <a:lnTo>
                    <a:pt x="60" y="16"/>
                  </a:lnTo>
                  <a:lnTo>
                    <a:pt x="66" y="16"/>
                  </a:lnTo>
                  <a:lnTo>
                    <a:pt x="71" y="16"/>
                  </a:lnTo>
                  <a:lnTo>
                    <a:pt x="71" y="22"/>
                  </a:lnTo>
                  <a:lnTo>
                    <a:pt x="77" y="27"/>
                  </a:lnTo>
                  <a:lnTo>
                    <a:pt x="82" y="33"/>
                  </a:lnTo>
                  <a:lnTo>
                    <a:pt x="88" y="38"/>
                  </a:lnTo>
                  <a:lnTo>
                    <a:pt x="93" y="38"/>
                  </a:lnTo>
                  <a:lnTo>
                    <a:pt x="93" y="44"/>
                  </a:lnTo>
                  <a:lnTo>
                    <a:pt x="99" y="44"/>
                  </a:lnTo>
                  <a:lnTo>
                    <a:pt x="99" y="38"/>
                  </a:lnTo>
                  <a:lnTo>
                    <a:pt x="99" y="44"/>
                  </a:lnTo>
                  <a:lnTo>
                    <a:pt x="99" y="49"/>
                  </a:lnTo>
                  <a:lnTo>
                    <a:pt x="104" y="44"/>
                  </a:lnTo>
                  <a:lnTo>
                    <a:pt x="104" y="49"/>
                  </a:lnTo>
                  <a:lnTo>
                    <a:pt x="110" y="49"/>
                  </a:lnTo>
                  <a:lnTo>
                    <a:pt x="110" y="55"/>
                  </a:lnTo>
                  <a:lnTo>
                    <a:pt x="115" y="66"/>
                  </a:lnTo>
                  <a:lnTo>
                    <a:pt x="110" y="71"/>
                  </a:lnTo>
                  <a:lnTo>
                    <a:pt x="115" y="71"/>
                  </a:lnTo>
                  <a:lnTo>
                    <a:pt x="115" y="66"/>
                  </a:lnTo>
                  <a:lnTo>
                    <a:pt x="115" y="55"/>
                  </a:lnTo>
                  <a:lnTo>
                    <a:pt x="121" y="55"/>
                  </a:lnTo>
                  <a:lnTo>
                    <a:pt x="121" y="60"/>
                  </a:lnTo>
                  <a:lnTo>
                    <a:pt x="121" y="66"/>
                  </a:lnTo>
                  <a:lnTo>
                    <a:pt x="126" y="66"/>
                  </a:lnTo>
                  <a:lnTo>
                    <a:pt x="126" y="71"/>
                  </a:lnTo>
                  <a:lnTo>
                    <a:pt x="126" y="77"/>
                  </a:lnTo>
                  <a:lnTo>
                    <a:pt x="126" y="82"/>
                  </a:lnTo>
                  <a:lnTo>
                    <a:pt x="121" y="88"/>
                  </a:lnTo>
                  <a:lnTo>
                    <a:pt x="121" y="93"/>
                  </a:lnTo>
                  <a:lnTo>
                    <a:pt x="115" y="93"/>
                  </a:lnTo>
                  <a:lnTo>
                    <a:pt x="115" y="99"/>
                  </a:lnTo>
                  <a:lnTo>
                    <a:pt x="110" y="99"/>
                  </a:lnTo>
                  <a:lnTo>
                    <a:pt x="110" y="104"/>
                  </a:lnTo>
                  <a:lnTo>
                    <a:pt x="104" y="121"/>
                  </a:lnTo>
                  <a:lnTo>
                    <a:pt x="99" y="121"/>
                  </a:lnTo>
                  <a:lnTo>
                    <a:pt x="99" y="126"/>
                  </a:lnTo>
                  <a:lnTo>
                    <a:pt x="93" y="132"/>
                  </a:lnTo>
                  <a:lnTo>
                    <a:pt x="93" y="137"/>
                  </a:lnTo>
                  <a:lnTo>
                    <a:pt x="88" y="148"/>
                  </a:lnTo>
                  <a:lnTo>
                    <a:pt x="82" y="159"/>
                  </a:lnTo>
                  <a:lnTo>
                    <a:pt x="77" y="165"/>
                  </a:lnTo>
                  <a:lnTo>
                    <a:pt x="71" y="170"/>
                  </a:lnTo>
                  <a:lnTo>
                    <a:pt x="66" y="170"/>
                  </a:lnTo>
                  <a:lnTo>
                    <a:pt x="66" y="165"/>
                  </a:lnTo>
                  <a:lnTo>
                    <a:pt x="55" y="170"/>
                  </a:lnTo>
                  <a:lnTo>
                    <a:pt x="60" y="165"/>
                  </a:lnTo>
                  <a:lnTo>
                    <a:pt x="55" y="159"/>
                  </a:lnTo>
                  <a:lnTo>
                    <a:pt x="49" y="165"/>
                  </a:lnTo>
                  <a:lnTo>
                    <a:pt x="44" y="165"/>
                  </a:lnTo>
                  <a:lnTo>
                    <a:pt x="38" y="165"/>
                  </a:lnTo>
                  <a:lnTo>
                    <a:pt x="38" y="159"/>
                  </a:lnTo>
                  <a:lnTo>
                    <a:pt x="27" y="165"/>
                  </a:lnTo>
                  <a:lnTo>
                    <a:pt x="22" y="170"/>
                  </a:lnTo>
                  <a:lnTo>
                    <a:pt x="16" y="170"/>
                  </a:lnTo>
                  <a:lnTo>
                    <a:pt x="11" y="170"/>
                  </a:lnTo>
                  <a:lnTo>
                    <a:pt x="11" y="165"/>
                  </a:lnTo>
                  <a:lnTo>
                    <a:pt x="5" y="165"/>
                  </a:lnTo>
                  <a:lnTo>
                    <a:pt x="0" y="165"/>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sp>
          <p:nvSpPr>
            <p:cNvPr id="211" name="Freeform 7">
              <a:extLst>
                <a:ext uri="{FF2B5EF4-FFF2-40B4-BE49-F238E27FC236}">
                  <a16:creationId xmlns:a16="http://schemas.microsoft.com/office/drawing/2014/main" id="{7ABCF827-0FA0-4EDB-9404-399D07007BDD}"/>
                </a:ext>
              </a:extLst>
            </p:cNvPr>
            <p:cNvSpPr>
              <a:spLocks/>
            </p:cNvSpPr>
            <p:nvPr/>
          </p:nvSpPr>
          <p:spPr bwMode="auto">
            <a:xfrm rot="21367780">
              <a:off x="3963631" y="1659027"/>
              <a:ext cx="374668" cy="591937"/>
            </a:xfrm>
            <a:custGeom>
              <a:avLst/>
              <a:gdLst>
                <a:gd name="T0" fmla="*/ 60 w 214"/>
                <a:gd name="T1" fmla="*/ 17 h 341"/>
                <a:gd name="T2" fmla="*/ 44 w 214"/>
                <a:gd name="T3" fmla="*/ 33 h 341"/>
                <a:gd name="T4" fmla="*/ 33 w 214"/>
                <a:gd name="T5" fmla="*/ 50 h 341"/>
                <a:gd name="T6" fmla="*/ 33 w 214"/>
                <a:gd name="T7" fmla="*/ 66 h 341"/>
                <a:gd name="T8" fmla="*/ 49 w 214"/>
                <a:gd name="T9" fmla="*/ 72 h 341"/>
                <a:gd name="T10" fmla="*/ 27 w 214"/>
                <a:gd name="T11" fmla="*/ 83 h 341"/>
                <a:gd name="T12" fmla="*/ 11 w 214"/>
                <a:gd name="T13" fmla="*/ 99 h 341"/>
                <a:gd name="T14" fmla="*/ 27 w 214"/>
                <a:gd name="T15" fmla="*/ 160 h 341"/>
                <a:gd name="T16" fmla="*/ 49 w 214"/>
                <a:gd name="T17" fmla="*/ 154 h 341"/>
                <a:gd name="T18" fmla="*/ 60 w 214"/>
                <a:gd name="T19" fmla="*/ 160 h 341"/>
                <a:gd name="T20" fmla="*/ 60 w 214"/>
                <a:gd name="T21" fmla="*/ 187 h 341"/>
                <a:gd name="T22" fmla="*/ 71 w 214"/>
                <a:gd name="T23" fmla="*/ 204 h 341"/>
                <a:gd name="T24" fmla="*/ 82 w 214"/>
                <a:gd name="T25" fmla="*/ 215 h 341"/>
                <a:gd name="T26" fmla="*/ 66 w 214"/>
                <a:gd name="T27" fmla="*/ 231 h 341"/>
                <a:gd name="T28" fmla="*/ 66 w 214"/>
                <a:gd name="T29" fmla="*/ 286 h 341"/>
                <a:gd name="T30" fmla="*/ 77 w 214"/>
                <a:gd name="T31" fmla="*/ 314 h 341"/>
                <a:gd name="T32" fmla="*/ 93 w 214"/>
                <a:gd name="T33" fmla="*/ 330 h 341"/>
                <a:gd name="T34" fmla="*/ 115 w 214"/>
                <a:gd name="T35" fmla="*/ 341 h 341"/>
                <a:gd name="T36" fmla="*/ 132 w 214"/>
                <a:gd name="T37" fmla="*/ 330 h 341"/>
                <a:gd name="T38" fmla="*/ 148 w 214"/>
                <a:gd name="T39" fmla="*/ 325 h 341"/>
                <a:gd name="T40" fmla="*/ 165 w 214"/>
                <a:gd name="T41" fmla="*/ 319 h 341"/>
                <a:gd name="T42" fmla="*/ 187 w 214"/>
                <a:gd name="T43" fmla="*/ 303 h 341"/>
                <a:gd name="T44" fmla="*/ 209 w 214"/>
                <a:gd name="T45" fmla="*/ 308 h 341"/>
                <a:gd name="T46" fmla="*/ 198 w 214"/>
                <a:gd name="T47" fmla="*/ 297 h 341"/>
                <a:gd name="T48" fmla="*/ 192 w 214"/>
                <a:gd name="T49" fmla="*/ 286 h 341"/>
                <a:gd name="T50" fmla="*/ 192 w 214"/>
                <a:gd name="T51" fmla="*/ 281 h 341"/>
                <a:gd name="T52" fmla="*/ 187 w 214"/>
                <a:gd name="T53" fmla="*/ 270 h 341"/>
                <a:gd name="T54" fmla="*/ 181 w 214"/>
                <a:gd name="T55" fmla="*/ 264 h 341"/>
                <a:gd name="T56" fmla="*/ 181 w 214"/>
                <a:gd name="T57" fmla="*/ 259 h 341"/>
                <a:gd name="T58" fmla="*/ 181 w 214"/>
                <a:gd name="T59" fmla="*/ 253 h 341"/>
                <a:gd name="T60" fmla="*/ 181 w 214"/>
                <a:gd name="T61" fmla="*/ 242 h 341"/>
                <a:gd name="T62" fmla="*/ 170 w 214"/>
                <a:gd name="T63" fmla="*/ 242 h 341"/>
                <a:gd name="T64" fmla="*/ 159 w 214"/>
                <a:gd name="T65" fmla="*/ 242 h 341"/>
                <a:gd name="T66" fmla="*/ 154 w 214"/>
                <a:gd name="T67" fmla="*/ 226 h 341"/>
                <a:gd name="T68" fmla="*/ 143 w 214"/>
                <a:gd name="T69" fmla="*/ 209 h 341"/>
                <a:gd name="T70" fmla="*/ 148 w 214"/>
                <a:gd name="T71" fmla="*/ 193 h 341"/>
                <a:gd name="T72" fmla="*/ 154 w 214"/>
                <a:gd name="T73" fmla="*/ 171 h 341"/>
                <a:gd name="T74" fmla="*/ 170 w 214"/>
                <a:gd name="T75" fmla="*/ 165 h 341"/>
                <a:gd name="T76" fmla="*/ 181 w 214"/>
                <a:gd name="T77" fmla="*/ 165 h 341"/>
                <a:gd name="T78" fmla="*/ 181 w 214"/>
                <a:gd name="T79" fmla="*/ 160 h 341"/>
                <a:gd name="T80" fmla="*/ 181 w 214"/>
                <a:gd name="T81" fmla="*/ 154 h 341"/>
                <a:gd name="T82" fmla="*/ 181 w 214"/>
                <a:gd name="T83" fmla="*/ 143 h 341"/>
                <a:gd name="T84" fmla="*/ 187 w 214"/>
                <a:gd name="T85" fmla="*/ 121 h 341"/>
                <a:gd name="T86" fmla="*/ 170 w 214"/>
                <a:gd name="T87" fmla="*/ 105 h 341"/>
                <a:gd name="T88" fmla="*/ 165 w 214"/>
                <a:gd name="T89" fmla="*/ 99 h 341"/>
                <a:gd name="T90" fmla="*/ 143 w 214"/>
                <a:gd name="T91" fmla="*/ 83 h 341"/>
                <a:gd name="T92" fmla="*/ 132 w 214"/>
                <a:gd name="T93" fmla="*/ 77 h 341"/>
                <a:gd name="T94" fmla="*/ 121 w 214"/>
                <a:gd name="T95" fmla="*/ 94 h 341"/>
                <a:gd name="T96" fmla="*/ 121 w 214"/>
                <a:gd name="T97" fmla="*/ 94 h 341"/>
                <a:gd name="T98" fmla="*/ 126 w 214"/>
                <a:gd name="T99" fmla="*/ 72 h 341"/>
                <a:gd name="T100" fmla="*/ 121 w 214"/>
                <a:gd name="T101" fmla="*/ 50 h 341"/>
                <a:gd name="T102" fmla="*/ 110 w 214"/>
                <a:gd name="T103" fmla="*/ 39 h 341"/>
                <a:gd name="T104" fmla="*/ 71 w 214"/>
                <a:gd name="T105" fmla="*/ 11 h 341"/>
                <a:gd name="T106" fmla="*/ 82 w 214"/>
                <a:gd name="T107" fmla="*/ 17 h 341"/>
                <a:gd name="T108" fmla="*/ 66 w 214"/>
                <a:gd name="T109" fmla="*/ 11 h 34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4"/>
                <a:gd name="T166" fmla="*/ 0 h 341"/>
                <a:gd name="T167" fmla="*/ 214 w 214"/>
                <a:gd name="T168" fmla="*/ 341 h 34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4" h="341">
                  <a:moveTo>
                    <a:pt x="60" y="0"/>
                  </a:moveTo>
                  <a:lnTo>
                    <a:pt x="66" y="11"/>
                  </a:lnTo>
                  <a:lnTo>
                    <a:pt x="71" y="17"/>
                  </a:lnTo>
                  <a:lnTo>
                    <a:pt x="66" y="17"/>
                  </a:lnTo>
                  <a:lnTo>
                    <a:pt x="60" y="17"/>
                  </a:lnTo>
                  <a:lnTo>
                    <a:pt x="60" y="28"/>
                  </a:lnTo>
                  <a:lnTo>
                    <a:pt x="55" y="28"/>
                  </a:lnTo>
                  <a:lnTo>
                    <a:pt x="49" y="28"/>
                  </a:lnTo>
                  <a:lnTo>
                    <a:pt x="44" y="33"/>
                  </a:lnTo>
                  <a:lnTo>
                    <a:pt x="38" y="33"/>
                  </a:lnTo>
                  <a:lnTo>
                    <a:pt x="33" y="39"/>
                  </a:lnTo>
                  <a:lnTo>
                    <a:pt x="33" y="44"/>
                  </a:lnTo>
                  <a:lnTo>
                    <a:pt x="33" y="50"/>
                  </a:lnTo>
                  <a:lnTo>
                    <a:pt x="27" y="50"/>
                  </a:lnTo>
                  <a:lnTo>
                    <a:pt x="33" y="55"/>
                  </a:lnTo>
                  <a:lnTo>
                    <a:pt x="33" y="61"/>
                  </a:lnTo>
                  <a:lnTo>
                    <a:pt x="33" y="66"/>
                  </a:lnTo>
                  <a:lnTo>
                    <a:pt x="38" y="66"/>
                  </a:lnTo>
                  <a:lnTo>
                    <a:pt x="44" y="66"/>
                  </a:lnTo>
                  <a:lnTo>
                    <a:pt x="49" y="66"/>
                  </a:lnTo>
                  <a:lnTo>
                    <a:pt x="49" y="72"/>
                  </a:lnTo>
                  <a:lnTo>
                    <a:pt x="44" y="77"/>
                  </a:lnTo>
                  <a:lnTo>
                    <a:pt x="38" y="83"/>
                  </a:lnTo>
                  <a:lnTo>
                    <a:pt x="33" y="83"/>
                  </a:lnTo>
                  <a:lnTo>
                    <a:pt x="27" y="83"/>
                  </a:lnTo>
                  <a:lnTo>
                    <a:pt x="22" y="83"/>
                  </a:lnTo>
                  <a:lnTo>
                    <a:pt x="22" y="88"/>
                  </a:lnTo>
                  <a:lnTo>
                    <a:pt x="11" y="88"/>
                  </a:lnTo>
                  <a:lnTo>
                    <a:pt x="5" y="94"/>
                  </a:lnTo>
                  <a:lnTo>
                    <a:pt x="11" y="99"/>
                  </a:lnTo>
                  <a:lnTo>
                    <a:pt x="11" y="110"/>
                  </a:lnTo>
                  <a:lnTo>
                    <a:pt x="5" y="116"/>
                  </a:lnTo>
                  <a:lnTo>
                    <a:pt x="0" y="121"/>
                  </a:lnTo>
                  <a:lnTo>
                    <a:pt x="27" y="160"/>
                  </a:lnTo>
                  <a:lnTo>
                    <a:pt x="33" y="154"/>
                  </a:lnTo>
                  <a:lnTo>
                    <a:pt x="44" y="160"/>
                  </a:lnTo>
                  <a:lnTo>
                    <a:pt x="44" y="154"/>
                  </a:lnTo>
                  <a:lnTo>
                    <a:pt x="49" y="160"/>
                  </a:lnTo>
                  <a:lnTo>
                    <a:pt x="49" y="154"/>
                  </a:lnTo>
                  <a:lnTo>
                    <a:pt x="55" y="154"/>
                  </a:lnTo>
                  <a:lnTo>
                    <a:pt x="55" y="160"/>
                  </a:lnTo>
                  <a:lnTo>
                    <a:pt x="60" y="160"/>
                  </a:lnTo>
                  <a:lnTo>
                    <a:pt x="60" y="182"/>
                  </a:lnTo>
                  <a:lnTo>
                    <a:pt x="55" y="182"/>
                  </a:lnTo>
                  <a:lnTo>
                    <a:pt x="55" y="187"/>
                  </a:lnTo>
                  <a:lnTo>
                    <a:pt x="60" y="187"/>
                  </a:lnTo>
                  <a:lnTo>
                    <a:pt x="66" y="193"/>
                  </a:lnTo>
                  <a:lnTo>
                    <a:pt x="71" y="193"/>
                  </a:lnTo>
                  <a:lnTo>
                    <a:pt x="77" y="193"/>
                  </a:lnTo>
                  <a:lnTo>
                    <a:pt x="71" y="198"/>
                  </a:lnTo>
                  <a:lnTo>
                    <a:pt x="71" y="204"/>
                  </a:lnTo>
                  <a:lnTo>
                    <a:pt x="77" y="204"/>
                  </a:lnTo>
                  <a:lnTo>
                    <a:pt x="77" y="209"/>
                  </a:lnTo>
                  <a:lnTo>
                    <a:pt x="77" y="215"/>
                  </a:lnTo>
                  <a:lnTo>
                    <a:pt x="82" y="215"/>
                  </a:lnTo>
                  <a:lnTo>
                    <a:pt x="77" y="215"/>
                  </a:lnTo>
                  <a:lnTo>
                    <a:pt x="77" y="220"/>
                  </a:lnTo>
                  <a:lnTo>
                    <a:pt x="77" y="226"/>
                  </a:lnTo>
                  <a:lnTo>
                    <a:pt x="66" y="231"/>
                  </a:lnTo>
                  <a:lnTo>
                    <a:pt x="66" y="242"/>
                  </a:lnTo>
                  <a:lnTo>
                    <a:pt x="60" y="259"/>
                  </a:lnTo>
                  <a:lnTo>
                    <a:pt x="60" y="275"/>
                  </a:lnTo>
                  <a:lnTo>
                    <a:pt x="66" y="286"/>
                  </a:lnTo>
                  <a:lnTo>
                    <a:pt x="71" y="292"/>
                  </a:lnTo>
                  <a:lnTo>
                    <a:pt x="71" y="314"/>
                  </a:lnTo>
                  <a:lnTo>
                    <a:pt x="71" y="308"/>
                  </a:lnTo>
                  <a:lnTo>
                    <a:pt x="77" y="314"/>
                  </a:lnTo>
                  <a:lnTo>
                    <a:pt x="82" y="319"/>
                  </a:lnTo>
                  <a:lnTo>
                    <a:pt x="88" y="325"/>
                  </a:lnTo>
                  <a:lnTo>
                    <a:pt x="88" y="330"/>
                  </a:lnTo>
                  <a:lnTo>
                    <a:pt x="93" y="330"/>
                  </a:lnTo>
                  <a:lnTo>
                    <a:pt x="104" y="336"/>
                  </a:lnTo>
                  <a:lnTo>
                    <a:pt x="110" y="336"/>
                  </a:lnTo>
                  <a:lnTo>
                    <a:pt x="110" y="341"/>
                  </a:lnTo>
                  <a:lnTo>
                    <a:pt x="115" y="341"/>
                  </a:lnTo>
                  <a:lnTo>
                    <a:pt x="115" y="336"/>
                  </a:lnTo>
                  <a:lnTo>
                    <a:pt x="126" y="336"/>
                  </a:lnTo>
                  <a:lnTo>
                    <a:pt x="126" y="330"/>
                  </a:lnTo>
                  <a:lnTo>
                    <a:pt x="132" y="330"/>
                  </a:lnTo>
                  <a:lnTo>
                    <a:pt x="132" y="325"/>
                  </a:lnTo>
                  <a:lnTo>
                    <a:pt x="143" y="325"/>
                  </a:lnTo>
                  <a:lnTo>
                    <a:pt x="148" y="325"/>
                  </a:lnTo>
                  <a:lnTo>
                    <a:pt x="148" y="319"/>
                  </a:lnTo>
                  <a:lnTo>
                    <a:pt x="154" y="319"/>
                  </a:lnTo>
                  <a:lnTo>
                    <a:pt x="159" y="319"/>
                  </a:lnTo>
                  <a:lnTo>
                    <a:pt x="165" y="319"/>
                  </a:lnTo>
                  <a:lnTo>
                    <a:pt x="170" y="314"/>
                  </a:lnTo>
                  <a:lnTo>
                    <a:pt x="170" y="308"/>
                  </a:lnTo>
                  <a:lnTo>
                    <a:pt x="176" y="303"/>
                  </a:lnTo>
                  <a:lnTo>
                    <a:pt x="181" y="308"/>
                  </a:lnTo>
                  <a:lnTo>
                    <a:pt x="187" y="303"/>
                  </a:lnTo>
                  <a:lnTo>
                    <a:pt x="192" y="308"/>
                  </a:lnTo>
                  <a:lnTo>
                    <a:pt x="198" y="308"/>
                  </a:lnTo>
                  <a:lnTo>
                    <a:pt x="203" y="308"/>
                  </a:lnTo>
                  <a:lnTo>
                    <a:pt x="209" y="308"/>
                  </a:lnTo>
                  <a:lnTo>
                    <a:pt x="214" y="308"/>
                  </a:lnTo>
                  <a:lnTo>
                    <a:pt x="209" y="303"/>
                  </a:lnTo>
                  <a:lnTo>
                    <a:pt x="203" y="303"/>
                  </a:lnTo>
                  <a:lnTo>
                    <a:pt x="198" y="297"/>
                  </a:lnTo>
                  <a:lnTo>
                    <a:pt x="198" y="292"/>
                  </a:lnTo>
                  <a:lnTo>
                    <a:pt x="198" y="286"/>
                  </a:lnTo>
                  <a:lnTo>
                    <a:pt x="192" y="286"/>
                  </a:lnTo>
                  <a:lnTo>
                    <a:pt x="192" y="281"/>
                  </a:lnTo>
                  <a:lnTo>
                    <a:pt x="187" y="275"/>
                  </a:lnTo>
                  <a:lnTo>
                    <a:pt x="192" y="275"/>
                  </a:lnTo>
                  <a:lnTo>
                    <a:pt x="187" y="275"/>
                  </a:lnTo>
                  <a:lnTo>
                    <a:pt x="187" y="270"/>
                  </a:lnTo>
                  <a:lnTo>
                    <a:pt x="187" y="264"/>
                  </a:lnTo>
                  <a:lnTo>
                    <a:pt x="181" y="264"/>
                  </a:lnTo>
                  <a:lnTo>
                    <a:pt x="181" y="259"/>
                  </a:lnTo>
                  <a:lnTo>
                    <a:pt x="181" y="253"/>
                  </a:lnTo>
                  <a:lnTo>
                    <a:pt x="181" y="248"/>
                  </a:lnTo>
                  <a:lnTo>
                    <a:pt x="176" y="242"/>
                  </a:lnTo>
                  <a:lnTo>
                    <a:pt x="181" y="242"/>
                  </a:lnTo>
                  <a:lnTo>
                    <a:pt x="176" y="242"/>
                  </a:lnTo>
                  <a:lnTo>
                    <a:pt x="170" y="242"/>
                  </a:lnTo>
                  <a:lnTo>
                    <a:pt x="165" y="242"/>
                  </a:lnTo>
                  <a:lnTo>
                    <a:pt x="159" y="242"/>
                  </a:lnTo>
                  <a:lnTo>
                    <a:pt x="165" y="237"/>
                  </a:lnTo>
                  <a:lnTo>
                    <a:pt x="159" y="231"/>
                  </a:lnTo>
                  <a:lnTo>
                    <a:pt x="154" y="226"/>
                  </a:lnTo>
                  <a:lnTo>
                    <a:pt x="154" y="220"/>
                  </a:lnTo>
                  <a:lnTo>
                    <a:pt x="148" y="215"/>
                  </a:lnTo>
                  <a:lnTo>
                    <a:pt x="143" y="209"/>
                  </a:lnTo>
                  <a:lnTo>
                    <a:pt x="143" y="204"/>
                  </a:lnTo>
                  <a:lnTo>
                    <a:pt x="148" y="204"/>
                  </a:lnTo>
                  <a:lnTo>
                    <a:pt x="148" y="198"/>
                  </a:lnTo>
                  <a:lnTo>
                    <a:pt x="148" y="193"/>
                  </a:lnTo>
                  <a:lnTo>
                    <a:pt x="154" y="182"/>
                  </a:lnTo>
                  <a:lnTo>
                    <a:pt x="154" y="176"/>
                  </a:lnTo>
                  <a:lnTo>
                    <a:pt x="148" y="176"/>
                  </a:lnTo>
                  <a:lnTo>
                    <a:pt x="154" y="171"/>
                  </a:lnTo>
                  <a:lnTo>
                    <a:pt x="159" y="171"/>
                  </a:lnTo>
                  <a:lnTo>
                    <a:pt x="159" y="165"/>
                  </a:lnTo>
                  <a:lnTo>
                    <a:pt x="165" y="165"/>
                  </a:lnTo>
                  <a:lnTo>
                    <a:pt x="170" y="165"/>
                  </a:lnTo>
                  <a:lnTo>
                    <a:pt x="176" y="165"/>
                  </a:lnTo>
                  <a:lnTo>
                    <a:pt x="181" y="165"/>
                  </a:lnTo>
                  <a:lnTo>
                    <a:pt x="176" y="165"/>
                  </a:lnTo>
                  <a:lnTo>
                    <a:pt x="176" y="160"/>
                  </a:lnTo>
                  <a:lnTo>
                    <a:pt x="181" y="160"/>
                  </a:lnTo>
                  <a:lnTo>
                    <a:pt x="181" y="154"/>
                  </a:lnTo>
                  <a:lnTo>
                    <a:pt x="181" y="149"/>
                  </a:lnTo>
                  <a:lnTo>
                    <a:pt x="176" y="149"/>
                  </a:lnTo>
                  <a:lnTo>
                    <a:pt x="181" y="149"/>
                  </a:lnTo>
                  <a:lnTo>
                    <a:pt x="181" y="143"/>
                  </a:lnTo>
                  <a:lnTo>
                    <a:pt x="181" y="138"/>
                  </a:lnTo>
                  <a:lnTo>
                    <a:pt x="181" y="132"/>
                  </a:lnTo>
                  <a:lnTo>
                    <a:pt x="187" y="127"/>
                  </a:lnTo>
                  <a:lnTo>
                    <a:pt x="187" y="121"/>
                  </a:lnTo>
                  <a:lnTo>
                    <a:pt x="181" y="121"/>
                  </a:lnTo>
                  <a:lnTo>
                    <a:pt x="181" y="116"/>
                  </a:lnTo>
                  <a:lnTo>
                    <a:pt x="181" y="110"/>
                  </a:lnTo>
                  <a:lnTo>
                    <a:pt x="176" y="105"/>
                  </a:lnTo>
                  <a:lnTo>
                    <a:pt x="170" y="105"/>
                  </a:lnTo>
                  <a:lnTo>
                    <a:pt x="165" y="99"/>
                  </a:lnTo>
                  <a:lnTo>
                    <a:pt x="159" y="94"/>
                  </a:lnTo>
                  <a:lnTo>
                    <a:pt x="154" y="88"/>
                  </a:lnTo>
                  <a:lnTo>
                    <a:pt x="148" y="83"/>
                  </a:lnTo>
                  <a:lnTo>
                    <a:pt x="143" y="83"/>
                  </a:lnTo>
                  <a:lnTo>
                    <a:pt x="137" y="77"/>
                  </a:lnTo>
                  <a:lnTo>
                    <a:pt x="132" y="77"/>
                  </a:lnTo>
                  <a:lnTo>
                    <a:pt x="126" y="83"/>
                  </a:lnTo>
                  <a:lnTo>
                    <a:pt x="126" y="88"/>
                  </a:lnTo>
                  <a:lnTo>
                    <a:pt x="121" y="94"/>
                  </a:lnTo>
                  <a:lnTo>
                    <a:pt x="121" y="99"/>
                  </a:lnTo>
                  <a:lnTo>
                    <a:pt x="115" y="99"/>
                  </a:lnTo>
                  <a:lnTo>
                    <a:pt x="121" y="99"/>
                  </a:lnTo>
                  <a:lnTo>
                    <a:pt x="121" y="94"/>
                  </a:lnTo>
                  <a:lnTo>
                    <a:pt x="121" y="88"/>
                  </a:lnTo>
                  <a:lnTo>
                    <a:pt x="121" y="83"/>
                  </a:lnTo>
                  <a:lnTo>
                    <a:pt x="126" y="77"/>
                  </a:lnTo>
                  <a:lnTo>
                    <a:pt x="126" y="72"/>
                  </a:lnTo>
                  <a:lnTo>
                    <a:pt x="126" y="66"/>
                  </a:lnTo>
                  <a:lnTo>
                    <a:pt x="126" y="61"/>
                  </a:lnTo>
                  <a:lnTo>
                    <a:pt x="126" y="55"/>
                  </a:lnTo>
                  <a:lnTo>
                    <a:pt x="121" y="50"/>
                  </a:lnTo>
                  <a:lnTo>
                    <a:pt x="121" y="44"/>
                  </a:lnTo>
                  <a:lnTo>
                    <a:pt x="115" y="44"/>
                  </a:lnTo>
                  <a:lnTo>
                    <a:pt x="110" y="39"/>
                  </a:lnTo>
                  <a:lnTo>
                    <a:pt x="99" y="28"/>
                  </a:lnTo>
                  <a:lnTo>
                    <a:pt x="71" y="6"/>
                  </a:lnTo>
                  <a:lnTo>
                    <a:pt x="71" y="11"/>
                  </a:lnTo>
                  <a:lnTo>
                    <a:pt x="77" y="17"/>
                  </a:lnTo>
                  <a:lnTo>
                    <a:pt x="82" y="17"/>
                  </a:lnTo>
                  <a:lnTo>
                    <a:pt x="82" y="22"/>
                  </a:lnTo>
                  <a:lnTo>
                    <a:pt x="88" y="22"/>
                  </a:lnTo>
                  <a:lnTo>
                    <a:pt x="82" y="17"/>
                  </a:lnTo>
                  <a:lnTo>
                    <a:pt x="77" y="17"/>
                  </a:lnTo>
                  <a:lnTo>
                    <a:pt x="71" y="17"/>
                  </a:lnTo>
                  <a:lnTo>
                    <a:pt x="71" y="11"/>
                  </a:lnTo>
                  <a:lnTo>
                    <a:pt x="66" y="11"/>
                  </a:lnTo>
                  <a:lnTo>
                    <a:pt x="60" y="6"/>
                  </a:lnTo>
                  <a:lnTo>
                    <a:pt x="60" y="0"/>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sp>
          <p:nvSpPr>
            <p:cNvPr id="212" name="Freeform 8">
              <a:extLst>
                <a:ext uri="{FF2B5EF4-FFF2-40B4-BE49-F238E27FC236}">
                  <a16:creationId xmlns:a16="http://schemas.microsoft.com/office/drawing/2014/main" id="{BE6EFA04-147D-4537-9794-527CBC558133}"/>
                </a:ext>
              </a:extLst>
            </p:cNvPr>
            <p:cNvSpPr>
              <a:spLocks/>
            </p:cNvSpPr>
            <p:nvPr/>
          </p:nvSpPr>
          <p:spPr bwMode="auto">
            <a:xfrm rot="21367780">
              <a:off x="4020417" y="3883526"/>
              <a:ext cx="635307" cy="655294"/>
            </a:xfrm>
            <a:custGeom>
              <a:avLst/>
              <a:gdLst>
                <a:gd name="T0" fmla="*/ 88 w 363"/>
                <a:gd name="T1" fmla="*/ 5 h 379"/>
                <a:gd name="T2" fmla="*/ 198 w 363"/>
                <a:gd name="T3" fmla="*/ 33 h 379"/>
                <a:gd name="T4" fmla="*/ 198 w 363"/>
                <a:gd name="T5" fmla="*/ 44 h 379"/>
                <a:gd name="T6" fmla="*/ 203 w 363"/>
                <a:gd name="T7" fmla="*/ 66 h 379"/>
                <a:gd name="T8" fmla="*/ 209 w 363"/>
                <a:gd name="T9" fmla="*/ 77 h 379"/>
                <a:gd name="T10" fmla="*/ 209 w 363"/>
                <a:gd name="T11" fmla="*/ 93 h 379"/>
                <a:gd name="T12" fmla="*/ 203 w 363"/>
                <a:gd name="T13" fmla="*/ 121 h 379"/>
                <a:gd name="T14" fmla="*/ 209 w 363"/>
                <a:gd name="T15" fmla="*/ 132 h 379"/>
                <a:gd name="T16" fmla="*/ 225 w 363"/>
                <a:gd name="T17" fmla="*/ 132 h 379"/>
                <a:gd name="T18" fmla="*/ 242 w 363"/>
                <a:gd name="T19" fmla="*/ 132 h 379"/>
                <a:gd name="T20" fmla="*/ 253 w 363"/>
                <a:gd name="T21" fmla="*/ 137 h 379"/>
                <a:gd name="T22" fmla="*/ 264 w 363"/>
                <a:gd name="T23" fmla="*/ 137 h 379"/>
                <a:gd name="T24" fmla="*/ 286 w 363"/>
                <a:gd name="T25" fmla="*/ 137 h 379"/>
                <a:gd name="T26" fmla="*/ 308 w 363"/>
                <a:gd name="T27" fmla="*/ 154 h 379"/>
                <a:gd name="T28" fmla="*/ 308 w 363"/>
                <a:gd name="T29" fmla="*/ 187 h 379"/>
                <a:gd name="T30" fmla="*/ 324 w 363"/>
                <a:gd name="T31" fmla="*/ 220 h 379"/>
                <a:gd name="T32" fmla="*/ 363 w 363"/>
                <a:gd name="T33" fmla="*/ 220 h 379"/>
                <a:gd name="T34" fmla="*/ 357 w 363"/>
                <a:gd name="T35" fmla="*/ 264 h 379"/>
                <a:gd name="T36" fmla="*/ 352 w 363"/>
                <a:gd name="T37" fmla="*/ 291 h 379"/>
                <a:gd name="T38" fmla="*/ 352 w 363"/>
                <a:gd name="T39" fmla="*/ 308 h 379"/>
                <a:gd name="T40" fmla="*/ 346 w 363"/>
                <a:gd name="T41" fmla="*/ 324 h 379"/>
                <a:gd name="T42" fmla="*/ 335 w 363"/>
                <a:gd name="T43" fmla="*/ 341 h 379"/>
                <a:gd name="T44" fmla="*/ 324 w 363"/>
                <a:gd name="T45" fmla="*/ 352 h 379"/>
                <a:gd name="T46" fmla="*/ 308 w 363"/>
                <a:gd name="T47" fmla="*/ 363 h 379"/>
                <a:gd name="T48" fmla="*/ 302 w 363"/>
                <a:gd name="T49" fmla="*/ 374 h 379"/>
                <a:gd name="T50" fmla="*/ 291 w 363"/>
                <a:gd name="T51" fmla="*/ 368 h 379"/>
                <a:gd name="T52" fmla="*/ 280 w 363"/>
                <a:gd name="T53" fmla="*/ 374 h 379"/>
                <a:gd name="T54" fmla="*/ 258 w 363"/>
                <a:gd name="T55" fmla="*/ 379 h 379"/>
                <a:gd name="T56" fmla="*/ 242 w 363"/>
                <a:gd name="T57" fmla="*/ 379 h 379"/>
                <a:gd name="T58" fmla="*/ 214 w 363"/>
                <a:gd name="T59" fmla="*/ 368 h 379"/>
                <a:gd name="T60" fmla="*/ 181 w 363"/>
                <a:gd name="T61" fmla="*/ 368 h 379"/>
                <a:gd name="T62" fmla="*/ 176 w 363"/>
                <a:gd name="T63" fmla="*/ 363 h 379"/>
                <a:gd name="T64" fmla="*/ 181 w 363"/>
                <a:gd name="T65" fmla="*/ 352 h 379"/>
                <a:gd name="T66" fmla="*/ 187 w 363"/>
                <a:gd name="T67" fmla="*/ 346 h 379"/>
                <a:gd name="T68" fmla="*/ 192 w 363"/>
                <a:gd name="T69" fmla="*/ 341 h 379"/>
                <a:gd name="T70" fmla="*/ 192 w 363"/>
                <a:gd name="T71" fmla="*/ 330 h 379"/>
                <a:gd name="T72" fmla="*/ 198 w 363"/>
                <a:gd name="T73" fmla="*/ 319 h 379"/>
                <a:gd name="T74" fmla="*/ 209 w 363"/>
                <a:gd name="T75" fmla="*/ 308 h 379"/>
                <a:gd name="T76" fmla="*/ 209 w 363"/>
                <a:gd name="T77" fmla="*/ 297 h 379"/>
                <a:gd name="T78" fmla="*/ 214 w 363"/>
                <a:gd name="T79" fmla="*/ 291 h 379"/>
                <a:gd name="T80" fmla="*/ 220 w 363"/>
                <a:gd name="T81" fmla="*/ 280 h 379"/>
                <a:gd name="T82" fmla="*/ 209 w 363"/>
                <a:gd name="T83" fmla="*/ 264 h 379"/>
                <a:gd name="T84" fmla="*/ 192 w 363"/>
                <a:gd name="T85" fmla="*/ 258 h 379"/>
                <a:gd name="T86" fmla="*/ 181 w 363"/>
                <a:gd name="T87" fmla="*/ 253 h 379"/>
                <a:gd name="T88" fmla="*/ 154 w 363"/>
                <a:gd name="T89" fmla="*/ 242 h 379"/>
                <a:gd name="T90" fmla="*/ 110 w 363"/>
                <a:gd name="T91" fmla="*/ 220 h 379"/>
                <a:gd name="T92" fmla="*/ 88 w 363"/>
                <a:gd name="T93" fmla="*/ 214 h 379"/>
                <a:gd name="T94" fmla="*/ 71 w 363"/>
                <a:gd name="T95" fmla="*/ 209 h 379"/>
                <a:gd name="T96" fmla="*/ 60 w 363"/>
                <a:gd name="T97" fmla="*/ 198 h 379"/>
                <a:gd name="T98" fmla="*/ 49 w 363"/>
                <a:gd name="T99" fmla="*/ 192 h 379"/>
                <a:gd name="T100" fmla="*/ 38 w 363"/>
                <a:gd name="T101" fmla="*/ 181 h 379"/>
                <a:gd name="T102" fmla="*/ 33 w 363"/>
                <a:gd name="T103" fmla="*/ 176 h 379"/>
                <a:gd name="T104" fmla="*/ 22 w 363"/>
                <a:gd name="T105" fmla="*/ 154 h 379"/>
                <a:gd name="T106" fmla="*/ 16 w 363"/>
                <a:gd name="T107" fmla="*/ 148 h 379"/>
                <a:gd name="T108" fmla="*/ 5 w 363"/>
                <a:gd name="T109" fmla="*/ 137 h 37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63"/>
                <a:gd name="T166" fmla="*/ 0 h 379"/>
                <a:gd name="T167" fmla="*/ 363 w 363"/>
                <a:gd name="T168" fmla="*/ 379 h 37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63" h="379">
                  <a:moveTo>
                    <a:pt x="0" y="137"/>
                  </a:moveTo>
                  <a:lnTo>
                    <a:pt x="16" y="82"/>
                  </a:lnTo>
                  <a:lnTo>
                    <a:pt x="16" y="60"/>
                  </a:lnTo>
                  <a:lnTo>
                    <a:pt x="33" y="38"/>
                  </a:lnTo>
                  <a:lnTo>
                    <a:pt x="49" y="22"/>
                  </a:lnTo>
                  <a:lnTo>
                    <a:pt x="88" y="5"/>
                  </a:lnTo>
                  <a:lnTo>
                    <a:pt x="115" y="0"/>
                  </a:lnTo>
                  <a:lnTo>
                    <a:pt x="154" y="0"/>
                  </a:lnTo>
                  <a:lnTo>
                    <a:pt x="181" y="16"/>
                  </a:lnTo>
                  <a:lnTo>
                    <a:pt x="198" y="22"/>
                  </a:lnTo>
                  <a:lnTo>
                    <a:pt x="198" y="27"/>
                  </a:lnTo>
                  <a:lnTo>
                    <a:pt x="198" y="33"/>
                  </a:lnTo>
                  <a:lnTo>
                    <a:pt x="198" y="38"/>
                  </a:lnTo>
                  <a:lnTo>
                    <a:pt x="198" y="44"/>
                  </a:lnTo>
                  <a:lnTo>
                    <a:pt x="198" y="49"/>
                  </a:lnTo>
                  <a:lnTo>
                    <a:pt x="203" y="55"/>
                  </a:lnTo>
                  <a:lnTo>
                    <a:pt x="203" y="60"/>
                  </a:lnTo>
                  <a:lnTo>
                    <a:pt x="203" y="66"/>
                  </a:lnTo>
                  <a:lnTo>
                    <a:pt x="203" y="60"/>
                  </a:lnTo>
                  <a:lnTo>
                    <a:pt x="209" y="66"/>
                  </a:lnTo>
                  <a:lnTo>
                    <a:pt x="203" y="71"/>
                  </a:lnTo>
                  <a:lnTo>
                    <a:pt x="209" y="71"/>
                  </a:lnTo>
                  <a:lnTo>
                    <a:pt x="203" y="71"/>
                  </a:lnTo>
                  <a:lnTo>
                    <a:pt x="209" y="77"/>
                  </a:lnTo>
                  <a:lnTo>
                    <a:pt x="209" y="82"/>
                  </a:lnTo>
                  <a:lnTo>
                    <a:pt x="209" y="88"/>
                  </a:lnTo>
                  <a:lnTo>
                    <a:pt x="209" y="93"/>
                  </a:lnTo>
                  <a:lnTo>
                    <a:pt x="203" y="104"/>
                  </a:lnTo>
                  <a:lnTo>
                    <a:pt x="203" y="110"/>
                  </a:lnTo>
                  <a:lnTo>
                    <a:pt x="209" y="110"/>
                  </a:lnTo>
                  <a:lnTo>
                    <a:pt x="203" y="115"/>
                  </a:lnTo>
                  <a:lnTo>
                    <a:pt x="203" y="121"/>
                  </a:lnTo>
                  <a:lnTo>
                    <a:pt x="203" y="126"/>
                  </a:lnTo>
                  <a:lnTo>
                    <a:pt x="209" y="132"/>
                  </a:lnTo>
                  <a:lnTo>
                    <a:pt x="214" y="132"/>
                  </a:lnTo>
                  <a:lnTo>
                    <a:pt x="214" y="126"/>
                  </a:lnTo>
                  <a:lnTo>
                    <a:pt x="220" y="126"/>
                  </a:lnTo>
                  <a:lnTo>
                    <a:pt x="220" y="132"/>
                  </a:lnTo>
                  <a:lnTo>
                    <a:pt x="225" y="132"/>
                  </a:lnTo>
                  <a:lnTo>
                    <a:pt x="231" y="137"/>
                  </a:lnTo>
                  <a:lnTo>
                    <a:pt x="231" y="132"/>
                  </a:lnTo>
                  <a:lnTo>
                    <a:pt x="236" y="137"/>
                  </a:lnTo>
                  <a:lnTo>
                    <a:pt x="236" y="132"/>
                  </a:lnTo>
                  <a:lnTo>
                    <a:pt x="236" y="137"/>
                  </a:lnTo>
                  <a:lnTo>
                    <a:pt x="242" y="132"/>
                  </a:lnTo>
                  <a:lnTo>
                    <a:pt x="242" y="137"/>
                  </a:lnTo>
                  <a:lnTo>
                    <a:pt x="247" y="137"/>
                  </a:lnTo>
                  <a:lnTo>
                    <a:pt x="253" y="137"/>
                  </a:lnTo>
                  <a:lnTo>
                    <a:pt x="258" y="137"/>
                  </a:lnTo>
                  <a:lnTo>
                    <a:pt x="264" y="137"/>
                  </a:lnTo>
                  <a:lnTo>
                    <a:pt x="258" y="137"/>
                  </a:lnTo>
                  <a:lnTo>
                    <a:pt x="264" y="137"/>
                  </a:lnTo>
                  <a:lnTo>
                    <a:pt x="269" y="126"/>
                  </a:lnTo>
                  <a:lnTo>
                    <a:pt x="275" y="132"/>
                  </a:lnTo>
                  <a:lnTo>
                    <a:pt x="280" y="137"/>
                  </a:lnTo>
                  <a:lnTo>
                    <a:pt x="286" y="137"/>
                  </a:lnTo>
                  <a:lnTo>
                    <a:pt x="291" y="137"/>
                  </a:lnTo>
                  <a:lnTo>
                    <a:pt x="297" y="137"/>
                  </a:lnTo>
                  <a:lnTo>
                    <a:pt x="302" y="143"/>
                  </a:lnTo>
                  <a:lnTo>
                    <a:pt x="302" y="148"/>
                  </a:lnTo>
                  <a:lnTo>
                    <a:pt x="308" y="154"/>
                  </a:lnTo>
                  <a:lnTo>
                    <a:pt x="308" y="170"/>
                  </a:lnTo>
                  <a:lnTo>
                    <a:pt x="308" y="176"/>
                  </a:lnTo>
                  <a:lnTo>
                    <a:pt x="313" y="181"/>
                  </a:lnTo>
                  <a:lnTo>
                    <a:pt x="308" y="187"/>
                  </a:lnTo>
                  <a:lnTo>
                    <a:pt x="313" y="187"/>
                  </a:lnTo>
                  <a:lnTo>
                    <a:pt x="308" y="192"/>
                  </a:lnTo>
                  <a:lnTo>
                    <a:pt x="313" y="198"/>
                  </a:lnTo>
                  <a:lnTo>
                    <a:pt x="313" y="203"/>
                  </a:lnTo>
                  <a:lnTo>
                    <a:pt x="313" y="214"/>
                  </a:lnTo>
                  <a:lnTo>
                    <a:pt x="324" y="220"/>
                  </a:lnTo>
                  <a:lnTo>
                    <a:pt x="330" y="214"/>
                  </a:lnTo>
                  <a:lnTo>
                    <a:pt x="335" y="214"/>
                  </a:lnTo>
                  <a:lnTo>
                    <a:pt x="346" y="209"/>
                  </a:lnTo>
                  <a:lnTo>
                    <a:pt x="357" y="214"/>
                  </a:lnTo>
                  <a:lnTo>
                    <a:pt x="363" y="220"/>
                  </a:lnTo>
                  <a:lnTo>
                    <a:pt x="363" y="236"/>
                  </a:lnTo>
                  <a:lnTo>
                    <a:pt x="363" y="242"/>
                  </a:lnTo>
                  <a:lnTo>
                    <a:pt x="363" y="247"/>
                  </a:lnTo>
                  <a:lnTo>
                    <a:pt x="357" y="253"/>
                  </a:lnTo>
                  <a:lnTo>
                    <a:pt x="357" y="264"/>
                  </a:lnTo>
                  <a:lnTo>
                    <a:pt x="357" y="269"/>
                  </a:lnTo>
                  <a:lnTo>
                    <a:pt x="352" y="280"/>
                  </a:lnTo>
                  <a:lnTo>
                    <a:pt x="352" y="286"/>
                  </a:lnTo>
                  <a:lnTo>
                    <a:pt x="352" y="291"/>
                  </a:lnTo>
                  <a:lnTo>
                    <a:pt x="346" y="291"/>
                  </a:lnTo>
                  <a:lnTo>
                    <a:pt x="352" y="297"/>
                  </a:lnTo>
                  <a:lnTo>
                    <a:pt x="352" y="302"/>
                  </a:lnTo>
                  <a:lnTo>
                    <a:pt x="352" y="308"/>
                  </a:lnTo>
                  <a:lnTo>
                    <a:pt x="346" y="308"/>
                  </a:lnTo>
                  <a:lnTo>
                    <a:pt x="346" y="313"/>
                  </a:lnTo>
                  <a:lnTo>
                    <a:pt x="346" y="319"/>
                  </a:lnTo>
                  <a:lnTo>
                    <a:pt x="346" y="324"/>
                  </a:lnTo>
                  <a:lnTo>
                    <a:pt x="346" y="330"/>
                  </a:lnTo>
                  <a:lnTo>
                    <a:pt x="341" y="335"/>
                  </a:lnTo>
                  <a:lnTo>
                    <a:pt x="341" y="341"/>
                  </a:lnTo>
                  <a:lnTo>
                    <a:pt x="335" y="341"/>
                  </a:lnTo>
                  <a:lnTo>
                    <a:pt x="335" y="346"/>
                  </a:lnTo>
                  <a:lnTo>
                    <a:pt x="330" y="346"/>
                  </a:lnTo>
                  <a:lnTo>
                    <a:pt x="330" y="352"/>
                  </a:lnTo>
                  <a:lnTo>
                    <a:pt x="324" y="352"/>
                  </a:lnTo>
                  <a:lnTo>
                    <a:pt x="319" y="352"/>
                  </a:lnTo>
                  <a:lnTo>
                    <a:pt x="313" y="352"/>
                  </a:lnTo>
                  <a:lnTo>
                    <a:pt x="313" y="357"/>
                  </a:lnTo>
                  <a:lnTo>
                    <a:pt x="308" y="357"/>
                  </a:lnTo>
                  <a:lnTo>
                    <a:pt x="308" y="363"/>
                  </a:lnTo>
                  <a:lnTo>
                    <a:pt x="308" y="368"/>
                  </a:lnTo>
                  <a:lnTo>
                    <a:pt x="308" y="374"/>
                  </a:lnTo>
                  <a:lnTo>
                    <a:pt x="302" y="374"/>
                  </a:lnTo>
                  <a:lnTo>
                    <a:pt x="297" y="374"/>
                  </a:lnTo>
                  <a:lnTo>
                    <a:pt x="297" y="368"/>
                  </a:lnTo>
                  <a:lnTo>
                    <a:pt x="291" y="368"/>
                  </a:lnTo>
                  <a:lnTo>
                    <a:pt x="286" y="368"/>
                  </a:lnTo>
                  <a:lnTo>
                    <a:pt x="280" y="368"/>
                  </a:lnTo>
                  <a:lnTo>
                    <a:pt x="280" y="374"/>
                  </a:lnTo>
                  <a:lnTo>
                    <a:pt x="275" y="379"/>
                  </a:lnTo>
                  <a:lnTo>
                    <a:pt x="269" y="379"/>
                  </a:lnTo>
                  <a:lnTo>
                    <a:pt x="269" y="374"/>
                  </a:lnTo>
                  <a:lnTo>
                    <a:pt x="264" y="374"/>
                  </a:lnTo>
                  <a:lnTo>
                    <a:pt x="258" y="374"/>
                  </a:lnTo>
                  <a:lnTo>
                    <a:pt x="258" y="379"/>
                  </a:lnTo>
                  <a:lnTo>
                    <a:pt x="253" y="379"/>
                  </a:lnTo>
                  <a:lnTo>
                    <a:pt x="253" y="374"/>
                  </a:lnTo>
                  <a:lnTo>
                    <a:pt x="247" y="374"/>
                  </a:lnTo>
                  <a:lnTo>
                    <a:pt x="242" y="379"/>
                  </a:lnTo>
                  <a:lnTo>
                    <a:pt x="236" y="374"/>
                  </a:lnTo>
                  <a:lnTo>
                    <a:pt x="231" y="374"/>
                  </a:lnTo>
                  <a:lnTo>
                    <a:pt x="225" y="374"/>
                  </a:lnTo>
                  <a:lnTo>
                    <a:pt x="220" y="374"/>
                  </a:lnTo>
                  <a:lnTo>
                    <a:pt x="214" y="368"/>
                  </a:lnTo>
                  <a:lnTo>
                    <a:pt x="203" y="368"/>
                  </a:lnTo>
                  <a:lnTo>
                    <a:pt x="198" y="368"/>
                  </a:lnTo>
                  <a:lnTo>
                    <a:pt x="192" y="368"/>
                  </a:lnTo>
                  <a:lnTo>
                    <a:pt x="187" y="368"/>
                  </a:lnTo>
                  <a:lnTo>
                    <a:pt x="181" y="368"/>
                  </a:lnTo>
                  <a:lnTo>
                    <a:pt x="176" y="368"/>
                  </a:lnTo>
                  <a:lnTo>
                    <a:pt x="176" y="363"/>
                  </a:lnTo>
                  <a:lnTo>
                    <a:pt x="181" y="357"/>
                  </a:lnTo>
                  <a:lnTo>
                    <a:pt x="181" y="352"/>
                  </a:lnTo>
                  <a:lnTo>
                    <a:pt x="187" y="352"/>
                  </a:lnTo>
                  <a:lnTo>
                    <a:pt x="187" y="346"/>
                  </a:lnTo>
                  <a:lnTo>
                    <a:pt x="192" y="346"/>
                  </a:lnTo>
                  <a:lnTo>
                    <a:pt x="192" y="341"/>
                  </a:lnTo>
                  <a:lnTo>
                    <a:pt x="192" y="335"/>
                  </a:lnTo>
                  <a:lnTo>
                    <a:pt x="198" y="335"/>
                  </a:lnTo>
                  <a:lnTo>
                    <a:pt x="192" y="335"/>
                  </a:lnTo>
                  <a:lnTo>
                    <a:pt x="192" y="330"/>
                  </a:lnTo>
                  <a:lnTo>
                    <a:pt x="198" y="324"/>
                  </a:lnTo>
                  <a:lnTo>
                    <a:pt x="198" y="319"/>
                  </a:lnTo>
                  <a:lnTo>
                    <a:pt x="198" y="313"/>
                  </a:lnTo>
                  <a:lnTo>
                    <a:pt x="203" y="313"/>
                  </a:lnTo>
                  <a:lnTo>
                    <a:pt x="209" y="308"/>
                  </a:lnTo>
                  <a:lnTo>
                    <a:pt x="209" y="302"/>
                  </a:lnTo>
                  <a:lnTo>
                    <a:pt x="209" y="297"/>
                  </a:lnTo>
                  <a:lnTo>
                    <a:pt x="214" y="297"/>
                  </a:lnTo>
                  <a:lnTo>
                    <a:pt x="214" y="291"/>
                  </a:lnTo>
                  <a:lnTo>
                    <a:pt x="220" y="291"/>
                  </a:lnTo>
                  <a:lnTo>
                    <a:pt x="220" y="280"/>
                  </a:lnTo>
                  <a:lnTo>
                    <a:pt x="214" y="275"/>
                  </a:lnTo>
                  <a:lnTo>
                    <a:pt x="214" y="269"/>
                  </a:lnTo>
                  <a:lnTo>
                    <a:pt x="209" y="269"/>
                  </a:lnTo>
                  <a:lnTo>
                    <a:pt x="209" y="264"/>
                  </a:lnTo>
                  <a:lnTo>
                    <a:pt x="203" y="264"/>
                  </a:lnTo>
                  <a:lnTo>
                    <a:pt x="198" y="264"/>
                  </a:lnTo>
                  <a:lnTo>
                    <a:pt x="192" y="258"/>
                  </a:lnTo>
                  <a:lnTo>
                    <a:pt x="192" y="264"/>
                  </a:lnTo>
                  <a:lnTo>
                    <a:pt x="187" y="264"/>
                  </a:lnTo>
                  <a:lnTo>
                    <a:pt x="187" y="258"/>
                  </a:lnTo>
                  <a:lnTo>
                    <a:pt x="181" y="253"/>
                  </a:lnTo>
                  <a:lnTo>
                    <a:pt x="176" y="253"/>
                  </a:lnTo>
                  <a:lnTo>
                    <a:pt x="170" y="253"/>
                  </a:lnTo>
                  <a:lnTo>
                    <a:pt x="165" y="253"/>
                  </a:lnTo>
                  <a:lnTo>
                    <a:pt x="159" y="247"/>
                  </a:lnTo>
                  <a:lnTo>
                    <a:pt x="154" y="242"/>
                  </a:lnTo>
                  <a:lnTo>
                    <a:pt x="148" y="242"/>
                  </a:lnTo>
                  <a:lnTo>
                    <a:pt x="143" y="236"/>
                  </a:lnTo>
                  <a:lnTo>
                    <a:pt x="137" y="231"/>
                  </a:lnTo>
                  <a:lnTo>
                    <a:pt x="115" y="220"/>
                  </a:lnTo>
                  <a:lnTo>
                    <a:pt x="110" y="220"/>
                  </a:lnTo>
                  <a:lnTo>
                    <a:pt x="104" y="220"/>
                  </a:lnTo>
                  <a:lnTo>
                    <a:pt x="99" y="214"/>
                  </a:lnTo>
                  <a:lnTo>
                    <a:pt x="93" y="214"/>
                  </a:lnTo>
                  <a:lnTo>
                    <a:pt x="88" y="214"/>
                  </a:lnTo>
                  <a:lnTo>
                    <a:pt x="88" y="209"/>
                  </a:lnTo>
                  <a:lnTo>
                    <a:pt x="88" y="214"/>
                  </a:lnTo>
                  <a:lnTo>
                    <a:pt x="82" y="209"/>
                  </a:lnTo>
                  <a:lnTo>
                    <a:pt x="77" y="209"/>
                  </a:lnTo>
                  <a:lnTo>
                    <a:pt x="71" y="209"/>
                  </a:lnTo>
                  <a:lnTo>
                    <a:pt x="71" y="203"/>
                  </a:lnTo>
                  <a:lnTo>
                    <a:pt x="66" y="203"/>
                  </a:lnTo>
                  <a:lnTo>
                    <a:pt x="66" y="198"/>
                  </a:lnTo>
                  <a:lnTo>
                    <a:pt x="60" y="198"/>
                  </a:lnTo>
                  <a:lnTo>
                    <a:pt x="60" y="192"/>
                  </a:lnTo>
                  <a:lnTo>
                    <a:pt x="55" y="192"/>
                  </a:lnTo>
                  <a:lnTo>
                    <a:pt x="49" y="192"/>
                  </a:lnTo>
                  <a:lnTo>
                    <a:pt x="49" y="187"/>
                  </a:lnTo>
                  <a:lnTo>
                    <a:pt x="44" y="187"/>
                  </a:lnTo>
                  <a:lnTo>
                    <a:pt x="44" y="181"/>
                  </a:lnTo>
                  <a:lnTo>
                    <a:pt x="38" y="181"/>
                  </a:lnTo>
                  <a:lnTo>
                    <a:pt x="38" y="176"/>
                  </a:lnTo>
                  <a:lnTo>
                    <a:pt x="33" y="176"/>
                  </a:lnTo>
                  <a:lnTo>
                    <a:pt x="27" y="170"/>
                  </a:lnTo>
                  <a:lnTo>
                    <a:pt x="27" y="165"/>
                  </a:lnTo>
                  <a:lnTo>
                    <a:pt x="22" y="159"/>
                  </a:lnTo>
                  <a:lnTo>
                    <a:pt x="22" y="154"/>
                  </a:lnTo>
                  <a:lnTo>
                    <a:pt x="16" y="154"/>
                  </a:lnTo>
                  <a:lnTo>
                    <a:pt x="16" y="148"/>
                  </a:lnTo>
                  <a:lnTo>
                    <a:pt x="11" y="143"/>
                  </a:lnTo>
                  <a:lnTo>
                    <a:pt x="5" y="143"/>
                  </a:lnTo>
                  <a:lnTo>
                    <a:pt x="5" y="137"/>
                  </a:lnTo>
                  <a:lnTo>
                    <a:pt x="0" y="137"/>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sp>
          <p:nvSpPr>
            <p:cNvPr id="213" name="Freeform 9">
              <a:extLst>
                <a:ext uri="{FF2B5EF4-FFF2-40B4-BE49-F238E27FC236}">
                  <a16:creationId xmlns:a16="http://schemas.microsoft.com/office/drawing/2014/main" id="{E9ECF726-2C30-4FCC-9CB8-B493961AC4AB}"/>
                </a:ext>
              </a:extLst>
            </p:cNvPr>
            <p:cNvSpPr>
              <a:spLocks/>
            </p:cNvSpPr>
            <p:nvPr/>
          </p:nvSpPr>
          <p:spPr bwMode="auto">
            <a:xfrm rot="21367780">
              <a:off x="2521973" y="2427111"/>
              <a:ext cx="962916" cy="1466266"/>
            </a:xfrm>
            <a:custGeom>
              <a:avLst/>
              <a:gdLst>
                <a:gd name="T0" fmla="*/ 49 w 550"/>
                <a:gd name="T1" fmla="*/ 182 h 847"/>
                <a:gd name="T2" fmla="*/ 38 w 550"/>
                <a:gd name="T3" fmla="*/ 204 h 847"/>
                <a:gd name="T4" fmla="*/ 60 w 550"/>
                <a:gd name="T5" fmla="*/ 204 h 847"/>
                <a:gd name="T6" fmla="*/ 88 w 550"/>
                <a:gd name="T7" fmla="*/ 226 h 847"/>
                <a:gd name="T8" fmla="*/ 110 w 550"/>
                <a:gd name="T9" fmla="*/ 215 h 847"/>
                <a:gd name="T10" fmla="*/ 126 w 550"/>
                <a:gd name="T11" fmla="*/ 171 h 847"/>
                <a:gd name="T12" fmla="*/ 143 w 550"/>
                <a:gd name="T13" fmla="*/ 149 h 847"/>
                <a:gd name="T14" fmla="*/ 264 w 550"/>
                <a:gd name="T15" fmla="*/ 39 h 847"/>
                <a:gd name="T16" fmla="*/ 253 w 550"/>
                <a:gd name="T17" fmla="*/ 11 h 847"/>
                <a:gd name="T18" fmla="*/ 275 w 550"/>
                <a:gd name="T19" fmla="*/ 6 h 847"/>
                <a:gd name="T20" fmla="*/ 302 w 550"/>
                <a:gd name="T21" fmla="*/ 28 h 847"/>
                <a:gd name="T22" fmla="*/ 308 w 550"/>
                <a:gd name="T23" fmla="*/ 44 h 847"/>
                <a:gd name="T24" fmla="*/ 330 w 550"/>
                <a:gd name="T25" fmla="*/ 55 h 847"/>
                <a:gd name="T26" fmla="*/ 341 w 550"/>
                <a:gd name="T27" fmla="*/ 77 h 847"/>
                <a:gd name="T28" fmla="*/ 352 w 550"/>
                <a:gd name="T29" fmla="*/ 105 h 847"/>
                <a:gd name="T30" fmla="*/ 374 w 550"/>
                <a:gd name="T31" fmla="*/ 110 h 847"/>
                <a:gd name="T32" fmla="*/ 412 w 550"/>
                <a:gd name="T33" fmla="*/ 105 h 847"/>
                <a:gd name="T34" fmla="*/ 429 w 550"/>
                <a:gd name="T35" fmla="*/ 110 h 847"/>
                <a:gd name="T36" fmla="*/ 451 w 550"/>
                <a:gd name="T37" fmla="*/ 105 h 847"/>
                <a:gd name="T38" fmla="*/ 478 w 550"/>
                <a:gd name="T39" fmla="*/ 116 h 847"/>
                <a:gd name="T40" fmla="*/ 462 w 550"/>
                <a:gd name="T41" fmla="*/ 176 h 847"/>
                <a:gd name="T42" fmla="*/ 489 w 550"/>
                <a:gd name="T43" fmla="*/ 198 h 847"/>
                <a:gd name="T44" fmla="*/ 467 w 550"/>
                <a:gd name="T45" fmla="*/ 193 h 847"/>
                <a:gd name="T46" fmla="*/ 440 w 550"/>
                <a:gd name="T47" fmla="*/ 204 h 847"/>
                <a:gd name="T48" fmla="*/ 401 w 550"/>
                <a:gd name="T49" fmla="*/ 215 h 847"/>
                <a:gd name="T50" fmla="*/ 368 w 550"/>
                <a:gd name="T51" fmla="*/ 237 h 847"/>
                <a:gd name="T52" fmla="*/ 330 w 550"/>
                <a:gd name="T53" fmla="*/ 330 h 847"/>
                <a:gd name="T54" fmla="*/ 341 w 550"/>
                <a:gd name="T55" fmla="*/ 385 h 847"/>
                <a:gd name="T56" fmla="*/ 352 w 550"/>
                <a:gd name="T57" fmla="*/ 435 h 847"/>
                <a:gd name="T58" fmla="*/ 467 w 550"/>
                <a:gd name="T59" fmla="*/ 435 h 847"/>
                <a:gd name="T60" fmla="*/ 500 w 550"/>
                <a:gd name="T61" fmla="*/ 506 h 847"/>
                <a:gd name="T62" fmla="*/ 550 w 550"/>
                <a:gd name="T63" fmla="*/ 589 h 847"/>
                <a:gd name="T64" fmla="*/ 533 w 550"/>
                <a:gd name="T65" fmla="*/ 627 h 847"/>
                <a:gd name="T66" fmla="*/ 539 w 550"/>
                <a:gd name="T67" fmla="*/ 660 h 847"/>
                <a:gd name="T68" fmla="*/ 522 w 550"/>
                <a:gd name="T69" fmla="*/ 693 h 847"/>
                <a:gd name="T70" fmla="*/ 517 w 550"/>
                <a:gd name="T71" fmla="*/ 721 h 847"/>
                <a:gd name="T72" fmla="*/ 539 w 550"/>
                <a:gd name="T73" fmla="*/ 770 h 847"/>
                <a:gd name="T74" fmla="*/ 511 w 550"/>
                <a:gd name="T75" fmla="*/ 798 h 847"/>
                <a:gd name="T76" fmla="*/ 495 w 550"/>
                <a:gd name="T77" fmla="*/ 842 h 847"/>
                <a:gd name="T78" fmla="*/ 451 w 550"/>
                <a:gd name="T79" fmla="*/ 825 h 847"/>
                <a:gd name="T80" fmla="*/ 423 w 550"/>
                <a:gd name="T81" fmla="*/ 792 h 847"/>
                <a:gd name="T82" fmla="*/ 385 w 550"/>
                <a:gd name="T83" fmla="*/ 770 h 847"/>
                <a:gd name="T84" fmla="*/ 330 w 550"/>
                <a:gd name="T85" fmla="*/ 748 h 847"/>
                <a:gd name="T86" fmla="*/ 280 w 550"/>
                <a:gd name="T87" fmla="*/ 721 h 847"/>
                <a:gd name="T88" fmla="*/ 264 w 550"/>
                <a:gd name="T89" fmla="*/ 704 h 847"/>
                <a:gd name="T90" fmla="*/ 236 w 550"/>
                <a:gd name="T91" fmla="*/ 671 h 847"/>
                <a:gd name="T92" fmla="*/ 220 w 550"/>
                <a:gd name="T93" fmla="*/ 649 h 847"/>
                <a:gd name="T94" fmla="*/ 225 w 550"/>
                <a:gd name="T95" fmla="*/ 622 h 847"/>
                <a:gd name="T96" fmla="*/ 192 w 550"/>
                <a:gd name="T97" fmla="*/ 567 h 847"/>
                <a:gd name="T98" fmla="*/ 176 w 550"/>
                <a:gd name="T99" fmla="*/ 534 h 847"/>
                <a:gd name="T100" fmla="*/ 159 w 550"/>
                <a:gd name="T101" fmla="*/ 506 h 847"/>
                <a:gd name="T102" fmla="*/ 137 w 550"/>
                <a:gd name="T103" fmla="*/ 473 h 847"/>
                <a:gd name="T104" fmla="*/ 121 w 550"/>
                <a:gd name="T105" fmla="*/ 429 h 847"/>
                <a:gd name="T106" fmla="*/ 115 w 550"/>
                <a:gd name="T107" fmla="*/ 413 h 847"/>
                <a:gd name="T108" fmla="*/ 93 w 550"/>
                <a:gd name="T109" fmla="*/ 374 h 847"/>
                <a:gd name="T110" fmla="*/ 66 w 550"/>
                <a:gd name="T111" fmla="*/ 325 h 847"/>
                <a:gd name="T112" fmla="*/ 11 w 550"/>
                <a:gd name="T113" fmla="*/ 270 h 847"/>
                <a:gd name="T114" fmla="*/ 11 w 550"/>
                <a:gd name="T115" fmla="*/ 231 h 847"/>
                <a:gd name="T116" fmla="*/ 11 w 550"/>
                <a:gd name="T117" fmla="*/ 187 h 84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50"/>
                <a:gd name="T178" fmla="*/ 0 h 847"/>
                <a:gd name="T179" fmla="*/ 550 w 550"/>
                <a:gd name="T180" fmla="*/ 847 h 84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50" h="847">
                  <a:moveTo>
                    <a:pt x="44" y="154"/>
                  </a:moveTo>
                  <a:lnTo>
                    <a:pt x="44" y="160"/>
                  </a:lnTo>
                  <a:lnTo>
                    <a:pt x="49" y="160"/>
                  </a:lnTo>
                  <a:lnTo>
                    <a:pt x="44" y="160"/>
                  </a:lnTo>
                  <a:lnTo>
                    <a:pt x="49" y="160"/>
                  </a:lnTo>
                  <a:lnTo>
                    <a:pt x="49" y="165"/>
                  </a:lnTo>
                  <a:lnTo>
                    <a:pt x="49" y="171"/>
                  </a:lnTo>
                  <a:lnTo>
                    <a:pt x="49" y="176"/>
                  </a:lnTo>
                  <a:lnTo>
                    <a:pt x="49" y="182"/>
                  </a:lnTo>
                  <a:lnTo>
                    <a:pt x="44" y="182"/>
                  </a:lnTo>
                  <a:lnTo>
                    <a:pt x="44" y="187"/>
                  </a:lnTo>
                  <a:lnTo>
                    <a:pt x="44" y="182"/>
                  </a:lnTo>
                  <a:lnTo>
                    <a:pt x="38" y="182"/>
                  </a:lnTo>
                  <a:lnTo>
                    <a:pt x="38" y="187"/>
                  </a:lnTo>
                  <a:lnTo>
                    <a:pt x="38" y="193"/>
                  </a:lnTo>
                  <a:lnTo>
                    <a:pt x="44" y="193"/>
                  </a:lnTo>
                  <a:lnTo>
                    <a:pt x="38" y="204"/>
                  </a:lnTo>
                  <a:lnTo>
                    <a:pt x="44" y="209"/>
                  </a:lnTo>
                  <a:lnTo>
                    <a:pt x="44" y="204"/>
                  </a:lnTo>
                  <a:lnTo>
                    <a:pt x="49" y="198"/>
                  </a:lnTo>
                  <a:lnTo>
                    <a:pt x="55" y="198"/>
                  </a:lnTo>
                  <a:lnTo>
                    <a:pt x="60" y="204"/>
                  </a:lnTo>
                  <a:lnTo>
                    <a:pt x="66" y="204"/>
                  </a:lnTo>
                  <a:lnTo>
                    <a:pt x="66" y="209"/>
                  </a:lnTo>
                  <a:lnTo>
                    <a:pt x="71" y="204"/>
                  </a:lnTo>
                  <a:lnTo>
                    <a:pt x="77" y="204"/>
                  </a:lnTo>
                  <a:lnTo>
                    <a:pt x="77" y="209"/>
                  </a:lnTo>
                  <a:lnTo>
                    <a:pt x="77" y="215"/>
                  </a:lnTo>
                  <a:lnTo>
                    <a:pt x="82" y="220"/>
                  </a:lnTo>
                  <a:lnTo>
                    <a:pt x="82" y="226"/>
                  </a:lnTo>
                  <a:lnTo>
                    <a:pt x="88" y="226"/>
                  </a:lnTo>
                  <a:lnTo>
                    <a:pt x="88" y="231"/>
                  </a:lnTo>
                  <a:lnTo>
                    <a:pt x="93" y="231"/>
                  </a:lnTo>
                  <a:lnTo>
                    <a:pt x="99" y="231"/>
                  </a:lnTo>
                  <a:lnTo>
                    <a:pt x="104" y="226"/>
                  </a:lnTo>
                  <a:lnTo>
                    <a:pt x="104" y="220"/>
                  </a:lnTo>
                  <a:lnTo>
                    <a:pt x="104" y="215"/>
                  </a:lnTo>
                  <a:lnTo>
                    <a:pt x="110" y="215"/>
                  </a:lnTo>
                  <a:lnTo>
                    <a:pt x="115" y="209"/>
                  </a:lnTo>
                  <a:lnTo>
                    <a:pt x="115" y="204"/>
                  </a:lnTo>
                  <a:lnTo>
                    <a:pt x="115" y="198"/>
                  </a:lnTo>
                  <a:lnTo>
                    <a:pt x="121" y="193"/>
                  </a:lnTo>
                  <a:lnTo>
                    <a:pt x="121" y="187"/>
                  </a:lnTo>
                  <a:lnTo>
                    <a:pt x="121" y="182"/>
                  </a:lnTo>
                  <a:lnTo>
                    <a:pt x="126" y="176"/>
                  </a:lnTo>
                  <a:lnTo>
                    <a:pt x="126" y="171"/>
                  </a:lnTo>
                  <a:lnTo>
                    <a:pt x="126" y="165"/>
                  </a:lnTo>
                  <a:lnTo>
                    <a:pt x="132" y="160"/>
                  </a:lnTo>
                  <a:lnTo>
                    <a:pt x="132" y="165"/>
                  </a:lnTo>
                  <a:lnTo>
                    <a:pt x="137" y="165"/>
                  </a:lnTo>
                  <a:lnTo>
                    <a:pt x="137" y="160"/>
                  </a:lnTo>
                  <a:lnTo>
                    <a:pt x="137" y="154"/>
                  </a:lnTo>
                  <a:lnTo>
                    <a:pt x="137" y="149"/>
                  </a:lnTo>
                  <a:lnTo>
                    <a:pt x="143" y="149"/>
                  </a:lnTo>
                  <a:lnTo>
                    <a:pt x="154" y="138"/>
                  </a:lnTo>
                  <a:lnTo>
                    <a:pt x="203" y="116"/>
                  </a:lnTo>
                  <a:lnTo>
                    <a:pt x="231" y="99"/>
                  </a:lnTo>
                  <a:lnTo>
                    <a:pt x="253" y="72"/>
                  </a:lnTo>
                  <a:lnTo>
                    <a:pt x="258" y="44"/>
                  </a:lnTo>
                  <a:lnTo>
                    <a:pt x="264" y="44"/>
                  </a:lnTo>
                  <a:lnTo>
                    <a:pt x="264" y="39"/>
                  </a:lnTo>
                  <a:lnTo>
                    <a:pt x="264" y="33"/>
                  </a:lnTo>
                  <a:lnTo>
                    <a:pt x="264" y="28"/>
                  </a:lnTo>
                  <a:lnTo>
                    <a:pt x="264" y="22"/>
                  </a:lnTo>
                  <a:lnTo>
                    <a:pt x="264" y="28"/>
                  </a:lnTo>
                  <a:lnTo>
                    <a:pt x="264" y="22"/>
                  </a:lnTo>
                  <a:lnTo>
                    <a:pt x="258" y="22"/>
                  </a:lnTo>
                  <a:lnTo>
                    <a:pt x="258" y="17"/>
                  </a:lnTo>
                  <a:lnTo>
                    <a:pt x="253" y="11"/>
                  </a:lnTo>
                  <a:lnTo>
                    <a:pt x="247" y="11"/>
                  </a:lnTo>
                  <a:lnTo>
                    <a:pt x="247" y="6"/>
                  </a:lnTo>
                  <a:lnTo>
                    <a:pt x="253" y="6"/>
                  </a:lnTo>
                  <a:lnTo>
                    <a:pt x="258" y="6"/>
                  </a:lnTo>
                  <a:lnTo>
                    <a:pt x="264" y="6"/>
                  </a:lnTo>
                  <a:lnTo>
                    <a:pt x="264" y="0"/>
                  </a:lnTo>
                  <a:lnTo>
                    <a:pt x="269" y="6"/>
                  </a:lnTo>
                  <a:lnTo>
                    <a:pt x="275" y="6"/>
                  </a:lnTo>
                  <a:lnTo>
                    <a:pt x="280" y="11"/>
                  </a:lnTo>
                  <a:lnTo>
                    <a:pt x="280" y="6"/>
                  </a:lnTo>
                  <a:lnTo>
                    <a:pt x="286" y="6"/>
                  </a:lnTo>
                  <a:lnTo>
                    <a:pt x="286" y="11"/>
                  </a:lnTo>
                  <a:lnTo>
                    <a:pt x="286" y="17"/>
                  </a:lnTo>
                  <a:lnTo>
                    <a:pt x="291" y="17"/>
                  </a:lnTo>
                  <a:lnTo>
                    <a:pt x="297" y="22"/>
                  </a:lnTo>
                  <a:lnTo>
                    <a:pt x="297" y="28"/>
                  </a:lnTo>
                  <a:lnTo>
                    <a:pt x="302" y="28"/>
                  </a:lnTo>
                  <a:lnTo>
                    <a:pt x="302" y="33"/>
                  </a:lnTo>
                  <a:lnTo>
                    <a:pt x="308" y="39"/>
                  </a:lnTo>
                  <a:lnTo>
                    <a:pt x="302" y="39"/>
                  </a:lnTo>
                  <a:lnTo>
                    <a:pt x="308" y="39"/>
                  </a:lnTo>
                  <a:lnTo>
                    <a:pt x="308" y="44"/>
                  </a:lnTo>
                  <a:lnTo>
                    <a:pt x="308" y="50"/>
                  </a:lnTo>
                  <a:lnTo>
                    <a:pt x="313" y="50"/>
                  </a:lnTo>
                  <a:lnTo>
                    <a:pt x="319" y="50"/>
                  </a:lnTo>
                  <a:lnTo>
                    <a:pt x="324" y="55"/>
                  </a:lnTo>
                  <a:lnTo>
                    <a:pt x="330" y="55"/>
                  </a:lnTo>
                  <a:lnTo>
                    <a:pt x="335" y="61"/>
                  </a:lnTo>
                  <a:lnTo>
                    <a:pt x="335" y="66"/>
                  </a:lnTo>
                  <a:lnTo>
                    <a:pt x="341" y="72"/>
                  </a:lnTo>
                  <a:lnTo>
                    <a:pt x="341" y="77"/>
                  </a:lnTo>
                  <a:lnTo>
                    <a:pt x="346" y="83"/>
                  </a:lnTo>
                  <a:lnTo>
                    <a:pt x="352" y="83"/>
                  </a:lnTo>
                  <a:lnTo>
                    <a:pt x="357" y="83"/>
                  </a:lnTo>
                  <a:lnTo>
                    <a:pt x="357" y="88"/>
                  </a:lnTo>
                  <a:lnTo>
                    <a:pt x="357" y="99"/>
                  </a:lnTo>
                  <a:lnTo>
                    <a:pt x="352" y="99"/>
                  </a:lnTo>
                  <a:lnTo>
                    <a:pt x="352" y="105"/>
                  </a:lnTo>
                  <a:lnTo>
                    <a:pt x="357" y="105"/>
                  </a:lnTo>
                  <a:lnTo>
                    <a:pt x="357" y="110"/>
                  </a:lnTo>
                  <a:lnTo>
                    <a:pt x="363" y="105"/>
                  </a:lnTo>
                  <a:lnTo>
                    <a:pt x="363" y="110"/>
                  </a:lnTo>
                  <a:lnTo>
                    <a:pt x="368" y="110"/>
                  </a:lnTo>
                  <a:lnTo>
                    <a:pt x="374" y="110"/>
                  </a:lnTo>
                  <a:lnTo>
                    <a:pt x="379" y="110"/>
                  </a:lnTo>
                  <a:lnTo>
                    <a:pt x="385" y="110"/>
                  </a:lnTo>
                  <a:lnTo>
                    <a:pt x="390" y="110"/>
                  </a:lnTo>
                  <a:lnTo>
                    <a:pt x="390" y="116"/>
                  </a:lnTo>
                  <a:lnTo>
                    <a:pt x="396" y="110"/>
                  </a:lnTo>
                  <a:lnTo>
                    <a:pt x="401" y="110"/>
                  </a:lnTo>
                  <a:lnTo>
                    <a:pt x="407" y="110"/>
                  </a:lnTo>
                  <a:lnTo>
                    <a:pt x="407" y="105"/>
                  </a:lnTo>
                  <a:lnTo>
                    <a:pt x="412" y="105"/>
                  </a:lnTo>
                  <a:lnTo>
                    <a:pt x="412" y="99"/>
                  </a:lnTo>
                  <a:lnTo>
                    <a:pt x="418" y="99"/>
                  </a:lnTo>
                  <a:lnTo>
                    <a:pt x="423" y="99"/>
                  </a:lnTo>
                  <a:lnTo>
                    <a:pt x="423" y="105"/>
                  </a:lnTo>
                  <a:lnTo>
                    <a:pt x="429" y="105"/>
                  </a:lnTo>
                  <a:lnTo>
                    <a:pt x="429" y="110"/>
                  </a:lnTo>
                  <a:lnTo>
                    <a:pt x="429" y="105"/>
                  </a:lnTo>
                  <a:lnTo>
                    <a:pt x="429" y="110"/>
                  </a:lnTo>
                  <a:lnTo>
                    <a:pt x="434" y="110"/>
                  </a:lnTo>
                  <a:lnTo>
                    <a:pt x="440" y="110"/>
                  </a:lnTo>
                  <a:lnTo>
                    <a:pt x="445" y="110"/>
                  </a:lnTo>
                  <a:lnTo>
                    <a:pt x="445" y="105"/>
                  </a:lnTo>
                  <a:lnTo>
                    <a:pt x="451" y="105"/>
                  </a:lnTo>
                  <a:lnTo>
                    <a:pt x="456" y="105"/>
                  </a:lnTo>
                  <a:lnTo>
                    <a:pt x="462" y="110"/>
                  </a:lnTo>
                  <a:lnTo>
                    <a:pt x="467" y="110"/>
                  </a:lnTo>
                  <a:lnTo>
                    <a:pt x="467" y="116"/>
                  </a:lnTo>
                  <a:lnTo>
                    <a:pt x="467" y="110"/>
                  </a:lnTo>
                  <a:lnTo>
                    <a:pt x="473" y="116"/>
                  </a:lnTo>
                  <a:lnTo>
                    <a:pt x="478" y="116"/>
                  </a:lnTo>
                  <a:lnTo>
                    <a:pt x="484" y="116"/>
                  </a:lnTo>
                  <a:lnTo>
                    <a:pt x="484" y="121"/>
                  </a:lnTo>
                  <a:lnTo>
                    <a:pt x="489" y="121"/>
                  </a:lnTo>
                  <a:lnTo>
                    <a:pt x="489" y="127"/>
                  </a:lnTo>
                  <a:lnTo>
                    <a:pt x="462" y="176"/>
                  </a:lnTo>
                  <a:lnTo>
                    <a:pt x="467" y="176"/>
                  </a:lnTo>
                  <a:lnTo>
                    <a:pt x="473" y="182"/>
                  </a:lnTo>
                  <a:lnTo>
                    <a:pt x="478" y="176"/>
                  </a:lnTo>
                  <a:lnTo>
                    <a:pt x="484" y="182"/>
                  </a:lnTo>
                  <a:lnTo>
                    <a:pt x="489" y="187"/>
                  </a:lnTo>
                  <a:lnTo>
                    <a:pt x="495" y="193"/>
                  </a:lnTo>
                  <a:lnTo>
                    <a:pt x="495" y="198"/>
                  </a:lnTo>
                  <a:lnTo>
                    <a:pt x="489" y="198"/>
                  </a:lnTo>
                  <a:lnTo>
                    <a:pt x="484" y="198"/>
                  </a:lnTo>
                  <a:lnTo>
                    <a:pt x="478" y="198"/>
                  </a:lnTo>
                  <a:lnTo>
                    <a:pt x="478" y="193"/>
                  </a:lnTo>
                  <a:lnTo>
                    <a:pt x="473" y="193"/>
                  </a:lnTo>
                  <a:lnTo>
                    <a:pt x="467" y="193"/>
                  </a:lnTo>
                  <a:lnTo>
                    <a:pt x="462" y="193"/>
                  </a:lnTo>
                  <a:lnTo>
                    <a:pt x="456" y="193"/>
                  </a:lnTo>
                  <a:lnTo>
                    <a:pt x="456" y="198"/>
                  </a:lnTo>
                  <a:lnTo>
                    <a:pt x="451" y="204"/>
                  </a:lnTo>
                  <a:lnTo>
                    <a:pt x="451" y="198"/>
                  </a:lnTo>
                  <a:lnTo>
                    <a:pt x="451" y="204"/>
                  </a:lnTo>
                  <a:lnTo>
                    <a:pt x="445" y="204"/>
                  </a:lnTo>
                  <a:lnTo>
                    <a:pt x="440" y="204"/>
                  </a:lnTo>
                  <a:lnTo>
                    <a:pt x="429" y="204"/>
                  </a:lnTo>
                  <a:lnTo>
                    <a:pt x="429" y="209"/>
                  </a:lnTo>
                  <a:lnTo>
                    <a:pt x="423" y="209"/>
                  </a:lnTo>
                  <a:lnTo>
                    <a:pt x="423" y="204"/>
                  </a:lnTo>
                  <a:lnTo>
                    <a:pt x="423" y="209"/>
                  </a:lnTo>
                  <a:lnTo>
                    <a:pt x="418" y="204"/>
                  </a:lnTo>
                  <a:lnTo>
                    <a:pt x="418" y="209"/>
                  </a:lnTo>
                  <a:lnTo>
                    <a:pt x="412" y="209"/>
                  </a:lnTo>
                  <a:lnTo>
                    <a:pt x="407" y="215"/>
                  </a:lnTo>
                  <a:lnTo>
                    <a:pt x="401" y="215"/>
                  </a:lnTo>
                  <a:lnTo>
                    <a:pt x="396" y="220"/>
                  </a:lnTo>
                  <a:lnTo>
                    <a:pt x="390" y="220"/>
                  </a:lnTo>
                  <a:lnTo>
                    <a:pt x="390" y="226"/>
                  </a:lnTo>
                  <a:lnTo>
                    <a:pt x="385" y="226"/>
                  </a:lnTo>
                  <a:lnTo>
                    <a:pt x="385" y="231"/>
                  </a:lnTo>
                  <a:lnTo>
                    <a:pt x="379" y="231"/>
                  </a:lnTo>
                  <a:lnTo>
                    <a:pt x="374" y="237"/>
                  </a:lnTo>
                  <a:lnTo>
                    <a:pt x="374" y="231"/>
                  </a:lnTo>
                  <a:lnTo>
                    <a:pt x="374" y="237"/>
                  </a:lnTo>
                  <a:lnTo>
                    <a:pt x="368" y="237"/>
                  </a:lnTo>
                  <a:lnTo>
                    <a:pt x="368" y="242"/>
                  </a:lnTo>
                  <a:lnTo>
                    <a:pt x="363" y="253"/>
                  </a:lnTo>
                  <a:lnTo>
                    <a:pt x="368" y="259"/>
                  </a:lnTo>
                  <a:lnTo>
                    <a:pt x="363" y="270"/>
                  </a:lnTo>
                  <a:lnTo>
                    <a:pt x="357" y="270"/>
                  </a:lnTo>
                  <a:lnTo>
                    <a:pt x="357" y="275"/>
                  </a:lnTo>
                  <a:lnTo>
                    <a:pt x="357" y="281"/>
                  </a:lnTo>
                  <a:lnTo>
                    <a:pt x="357" y="297"/>
                  </a:lnTo>
                  <a:lnTo>
                    <a:pt x="352" y="303"/>
                  </a:lnTo>
                  <a:lnTo>
                    <a:pt x="335" y="314"/>
                  </a:lnTo>
                  <a:lnTo>
                    <a:pt x="330" y="319"/>
                  </a:lnTo>
                  <a:lnTo>
                    <a:pt x="330" y="325"/>
                  </a:lnTo>
                  <a:lnTo>
                    <a:pt x="330" y="330"/>
                  </a:lnTo>
                  <a:lnTo>
                    <a:pt x="330" y="336"/>
                  </a:lnTo>
                  <a:lnTo>
                    <a:pt x="324" y="341"/>
                  </a:lnTo>
                  <a:lnTo>
                    <a:pt x="319" y="341"/>
                  </a:lnTo>
                  <a:lnTo>
                    <a:pt x="319" y="347"/>
                  </a:lnTo>
                  <a:lnTo>
                    <a:pt x="324" y="352"/>
                  </a:lnTo>
                  <a:lnTo>
                    <a:pt x="324" y="358"/>
                  </a:lnTo>
                  <a:lnTo>
                    <a:pt x="330" y="358"/>
                  </a:lnTo>
                  <a:lnTo>
                    <a:pt x="330" y="363"/>
                  </a:lnTo>
                  <a:lnTo>
                    <a:pt x="330" y="369"/>
                  </a:lnTo>
                  <a:lnTo>
                    <a:pt x="335" y="374"/>
                  </a:lnTo>
                  <a:lnTo>
                    <a:pt x="341" y="385"/>
                  </a:lnTo>
                  <a:lnTo>
                    <a:pt x="346" y="391"/>
                  </a:lnTo>
                  <a:lnTo>
                    <a:pt x="346" y="396"/>
                  </a:lnTo>
                  <a:lnTo>
                    <a:pt x="352" y="396"/>
                  </a:lnTo>
                  <a:lnTo>
                    <a:pt x="352" y="402"/>
                  </a:lnTo>
                  <a:lnTo>
                    <a:pt x="357" y="402"/>
                  </a:lnTo>
                  <a:lnTo>
                    <a:pt x="357" y="413"/>
                  </a:lnTo>
                  <a:lnTo>
                    <a:pt x="363" y="413"/>
                  </a:lnTo>
                  <a:lnTo>
                    <a:pt x="368" y="418"/>
                  </a:lnTo>
                  <a:lnTo>
                    <a:pt x="363" y="424"/>
                  </a:lnTo>
                  <a:lnTo>
                    <a:pt x="357" y="429"/>
                  </a:lnTo>
                  <a:lnTo>
                    <a:pt x="352" y="435"/>
                  </a:lnTo>
                  <a:lnTo>
                    <a:pt x="374" y="435"/>
                  </a:lnTo>
                  <a:lnTo>
                    <a:pt x="379" y="435"/>
                  </a:lnTo>
                  <a:lnTo>
                    <a:pt x="396" y="440"/>
                  </a:lnTo>
                  <a:lnTo>
                    <a:pt x="396" y="446"/>
                  </a:lnTo>
                  <a:lnTo>
                    <a:pt x="396" y="451"/>
                  </a:lnTo>
                  <a:lnTo>
                    <a:pt x="401" y="457"/>
                  </a:lnTo>
                  <a:lnTo>
                    <a:pt x="396" y="462"/>
                  </a:lnTo>
                  <a:lnTo>
                    <a:pt x="434" y="462"/>
                  </a:lnTo>
                  <a:lnTo>
                    <a:pt x="445" y="457"/>
                  </a:lnTo>
                  <a:lnTo>
                    <a:pt x="451" y="457"/>
                  </a:lnTo>
                  <a:lnTo>
                    <a:pt x="456" y="446"/>
                  </a:lnTo>
                  <a:lnTo>
                    <a:pt x="467" y="435"/>
                  </a:lnTo>
                  <a:lnTo>
                    <a:pt x="473" y="435"/>
                  </a:lnTo>
                  <a:lnTo>
                    <a:pt x="473" y="440"/>
                  </a:lnTo>
                  <a:lnTo>
                    <a:pt x="467" y="440"/>
                  </a:lnTo>
                  <a:lnTo>
                    <a:pt x="473" y="451"/>
                  </a:lnTo>
                  <a:lnTo>
                    <a:pt x="467" y="457"/>
                  </a:lnTo>
                  <a:lnTo>
                    <a:pt x="467" y="512"/>
                  </a:lnTo>
                  <a:lnTo>
                    <a:pt x="473" y="506"/>
                  </a:lnTo>
                  <a:lnTo>
                    <a:pt x="473" y="512"/>
                  </a:lnTo>
                  <a:lnTo>
                    <a:pt x="478" y="512"/>
                  </a:lnTo>
                  <a:lnTo>
                    <a:pt x="484" y="512"/>
                  </a:lnTo>
                  <a:lnTo>
                    <a:pt x="495" y="506"/>
                  </a:lnTo>
                  <a:lnTo>
                    <a:pt x="500" y="506"/>
                  </a:lnTo>
                  <a:lnTo>
                    <a:pt x="506" y="506"/>
                  </a:lnTo>
                  <a:lnTo>
                    <a:pt x="511" y="506"/>
                  </a:lnTo>
                  <a:lnTo>
                    <a:pt x="539" y="556"/>
                  </a:lnTo>
                  <a:lnTo>
                    <a:pt x="550" y="578"/>
                  </a:lnTo>
                  <a:lnTo>
                    <a:pt x="550" y="583"/>
                  </a:lnTo>
                  <a:lnTo>
                    <a:pt x="544" y="583"/>
                  </a:lnTo>
                  <a:lnTo>
                    <a:pt x="550" y="583"/>
                  </a:lnTo>
                  <a:lnTo>
                    <a:pt x="550" y="589"/>
                  </a:lnTo>
                  <a:lnTo>
                    <a:pt x="544" y="589"/>
                  </a:lnTo>
                  <a:lnTo>
                    <a:pt x="539" y="589"/>
                  </a:lnTo>
                  <a:lnTo>
                    <a:pt x="539" y="594"/>
                  </a:lnTo>
                  <a:lnTo>
                    <a:pt x="539" y="600"/>
                  </a:lnTo>
                  <a:lnTo>
                    <a:pt x="539" y="605"/>
                  </a:lnTo>
                  <a:lnTo>
                    <a:pt x="539" y="611"/>
                  </a:lnTo>
                  <a:lnTo>
                    <a:pt x="539" y="627"/>
                  </a:lnTo>
                  <a:lnTo>
                    <a:pt x="533" y="627"/>
                  </a:lnTo>
                  <a:lnTo>
                    <a:pt x="533" y="633"/>
                  </a:lnTo>
                  <a:lnTo>
                    <a:pt x="539" y="633"/>
                  </a:lnTo>
                  <a:lnTo>
                    <a:pt x="533" y="638"/>
                  </a:lnTo>
                  <a:lnTo>
                    <a:pt x="539" y="638"/>
                  </a:lnTo>
                  <a:lnTo>
                    <a:pt x="539" y="644"/>
                  </a:lnTo>
                  <a:lnTo>
                    <a:pt x="539" y="649"/>
                  </a:lnTo>
                  <a:lnTo>
                    <a:pt x="544" y="649"/>
                  </a:lnTo>
                  <a:lnTo>
                    <a:pt x="544" y="655"/>
                  </a:lnTo>
                  <a:lnTo>
                    <a:pt x="539" y="660"/>
                  </a:lnTo>
                  <a:lnTo>
                    <a:pt x="539" y="666"/>
                  </a:lnTo>
                  <a:lnTo>
                    <a:pt x="533" y="671"/>
                  </a:lnTo>
                  <a:lnTo>
                    <a:pt x="528" y="671"/>
                  </a:lnTo>
                  <a:lnTo>
                    <a:pt x="528" y="677"/>
                  </a:lnTo>
                  <a:lnTo>
                    <a:pt x="528" y="682"/>
                  </a:lnTo>
                  <a:lnTo>
                    <a:pt x="522" y="682"/>
                  </a:lnTo>
                  <a:lnTo>
                    <a:pt x="522" y="688"/>
                  </a:lnTo>
                  <a:lnTo>
                    <a:pt x="522" y="693"/>
                  </a:lnTo>
                  <a:lnTo>
                    <a:pt x="522" y="699"/>
                  </a:lnTo>
                  <a:lnTo>
                    <a:pt x="528" y="699"/>
                  </a:lnTo>
                  <a:lnTo>
                    <a:pt x="533" y="704"/>
                  </a:lnTo>
                  <a:lnTo>
                    <a:pt x="528" y="704"/>
                  </a:lnTo>
                  <a:lnTo>
                    <a:pt x="528" y="710"/>
                  </a:lnTo>
                  <a:lnTo>
                    <a:pt x="522" y="710"/>
                  </a:lnTo>
                  <a:lnTo>
                    <a:pt x="522" y="715"/>
                  </a:lnTo>
                  <a:lnTo>
                    <a:pt x="517" y="721"/>
                  </a:lnTo>
                  <a:lnTo>
                    <a:pt x="528" y="748"/>
                  </a:lnTo>
                  <a:lnTo>
                    <a:pt x="533" y="748"/>
                  </a:lnTo>
                  <a:lnTo>
                    <a:pt x="539" y="748"/>
                  </a:lnTo>
                  <a:lnTo>
                    <a:pt x="539" y="754"/>
                  </a:lnTo>
                  <a:lnTo>
                    <a:pt x="544" y="754"/>
                  </a:lnTo>
                  <a:lnTo>
                    <a:pt x="539" y="759"/>
                  </a:lnTo>
                  <a:lnTo>
                    <a:pt x="533" y="759"/>
                  </a:lnTo>
                  <a:lnTo>
                    <a:pt x="533" y="765"/>
                  </a:lnTo>
                  <a:lnTo>
                    <a:pt x="539" y="770"/>
                  </a:lnTo>
                  <a:lnTo>
                    <a:pt x="533" y="770"/>
                  </a:lnTo>
                  <a:lnTo>
                    <a:pt x="528" y="770"/>
                  </a:lnTo>
                  <a:lnTo>
                    <a:pt x="528" y="776"/>
                  </a:lnTo>
                  <a:lnTo>
                    <a:pt x="522" y="781"/>
                  </a:lnTo>
                  <a:lnTo>
                    <a:pt x="517" y="787"/>
                  </a:lnTo>
                  <a:lnTo>
                    <a:pt x="522" y="787"/>
                  </a:lnTo>
                  <a:lnTo>
                    <a:pt x="517" y="792"/>
                  </a:lnTo>
                  <a:lnTo>
                    <a:pt x="511" y="792"/>
                  </a:lnTo>
                  <a:lnTo>
                    <a:pt x="511" y="798"/>
                  </a:lnTo>
                  <a:lnTo>
                    <a:pt x="517" y="803"/>
                  </a:lnTo>
                  <a:lnTo>
                    <a:pt x="517" y="809"/>
                  </a:lnTo>
                  <a:lnTo>
                    <a:pt x="506" y="814"/>
                  </a:lnTo>
                  <a:lnTo>
                    <a:pt x="500" y="814"/>
                  </a:lnTo>
                  <a:lnTo>
                    <a:pt x="500" y="820"/>
                  </a:lnTo>
                  <a:lnTo>
                    <a:pt x="500" y="825"/>
                  </a:lnTo>
                  <a:lnTo>
                    <a:pt x="506" y="831"/>
                  </a:lnTo>
                  <a:lnTo>
                    <a:pt x="500" y="836"/>
                  </a:lnTo>
                  <a:lnTo>
                    <a:pt x="495" y="842"/>
                  </a:lnTo>
                  <a:lnTo>
                    <a:pt x="489" y="842"/>
                  </a:lnTo>
                  <a:lnTo>
                    <a:pt x="489" y="847"/>
                  </a:lnTo>
                  <a:lnTo>
                    <a:pt x="484" y="847"/>
                  </a:lnTo>
                  <a:lnTo>
                    <a:pt x="478" y="847"/>
                  </a:lnTo>
                  <a:lnTo>
                    <a:pt x="473" y="842"/>
                  </a:lnTo>
                  <a:lnTo>
                    <a:pt x="467" y="842"/>
                  </a:lnTo>
                  <a:lnTo>
                    <a:pt x="462" y="836"/>
                  </a:lnTo>
                  <a:lnTo>
                    <a:pt x="456" y="831"/>
                  </a:lnTo>
                  <a:lnTo>
                    <a:pt x="451" y="825"/>
                  </a:lnTo>
                  <a:lnTo>
                    <a:pt x="445" y="825"/>
                  </a:lnTo>
                  <a:lnTo>
                    <a:pt x="445" y="820"/>
                  </a:lnTo>
                  <a:lnTo>
                    <a:pt x="440" y="820"/>
                  </a:lnTo>
                  <a:lnTo>
                    <a:pt x="434" y="820"/>
                  </a:lnTo>
                  <a:lnTo>
                    <a:pt x="434" y="814"/>
                  </a:lnTo>
                  <a:lnTo>
                    <a:pt x="434" y="803"/>
                  </a:lnTo>
                  <a:lnTo>
                    <a:pt x="429" y="798"/>
                  </a:lnTo>
                  <a:lnTo>
                    <a:pt x="423" y="798"/>
                  </a:lnTo>
                  <a:lnTo>
                    <a:pt x="423" y="792"/>
                  </a:lnTo>
                  <a:lnTo>
                    <a:pt x="412" y="792"/>
                  </a:lnTo>
                  <a:lnTo>
                    <a:pt x="407" y="787"/>
                  </a:lnTo>
                  <a:lnTo>
                    <a:pt x="401" y="787"/>
                  </a:lnTo>
                  <a:lnTo>
                    <a:pt x="401" y="781"/>
                  </a:lnTo>
                  <a:lnTo>
                    <a:pt x="396" y="781"/>
                  </a:lnTo>
                  <a:lnTo>
                    <a:pt x="396" y="776"/>
                  </a:lnTo>
                  <a:lnTo>
                    <a:pt x="390" y="776"/>
                  </a:lnTo>
                  <a:lnTo>
                    <a:pt x="385" y="770"/>
                  </a:lnTo>
                  <a:lnTo>
                    <a:pt x="379" y="770"/>
                  </a:lnTo>
                  <a:lnTo>
                    <a:pt x="374" y="770"/>
                  </a:lnTo>
                  <a:lnTo>
                    <a:pt x="368" y="765"/>
                  </a:lnTo>
                  <a:lnTo>
                    <a:pt x="363" y="765"/>
                  </a:lnTo>
                  <a:lnTo>
                    <a:pt x="357" y="759"/>
                  </a:lnTo>
                  <a:lnTo>
                    <a:pt x="352" y="759"/>
                  </a:lnTo>
                  <a:lnTo>
                    <a:pt x="352" y="754"/>
                  </a:lnTo>
                  <a:lnTo>
                    <a:pt x="346" y="754"/>
                  </a:lnTo>
                  <a:lnTo>
                    <a:pt x="335" y="748"/>
                  </a:lnTo>
                  <a:lnTo>
                    <a:pt x="330" y="748"/>
                  </a:lnTo>
                  <a:lnTo>
                    <a:pt x="324" y="748"/>
                  </a:lnTo>
                  <a:lnTo>
                    <a:pt x="319" y="743"/>
                  </a:lnTo>
                  <a:lnTo>
                    <a:pt x="319" y="737"/>
                  </a:lnTo>
                  <a:lnTo>
                    <a:pt x="313" y="732"/>
                  </a:lnTo>
                  <a:lnTo>
                    <a:pt x="308" y="732"/>
                  </a:lnTo>
                  <a:lnTo>
                    <a:pt x="302" y="732"/>
                  </a:lnTo>
                  <a:lnTo>
                    <a:pt x="297" y="726"/>
                  </a:lnTo>
                  <a:lnTo>
                    <a:pt x="291" y="721"/>
                  </a:lnTo>
                  <a:lnTo>
                    <a:pt x="286" y="721"/>
                  </a:lnTo>
                  <a:lnTo>
                    <a:pt x="280" y="721"/>
                  </a:lnTo>
                  <a:lnTo>
                    <a:pt x="280" y="715"/>
                  </a:lnTo>
                  <a:lnTo>
                    <a:pt x="275" y="715"/>
                  </a:lnTo>
                  <a:lnTo>
                    <a:pt x="269" y="710"/>
                  </a:lnTo>
                  <a:lnTo>
                    <a:pt x="269" y="704"/>
                  </a:lnTo>
                  <a:lnTo>
                    <a:pt x="264" y="704"/>
                  </a:lnTo>
                  <a:lnTo>
                    <a:pt x="264" y="699"/>
                  </a:lnTo>
                  <a:lnTo>
                    <a:pt x="258" y="699"/>
                  </a:lnTo>
                  <a:lnTo>
                    <a:pt x="258" y="693"/>
                  </a:lnTo>
                  <a:lnTo>
                    <a:pt x="253" y="693"/>
                  </a:lnTo>
                  <a:lnTo>
                    <a:pt x="253" y="688"/>
                  </a:lnTo>
                  <a:lnTo>
                    <a:pt x="242" y="682"/>
                  </a:lnTo>
                  <a:lnTo>
                    <a:pt x="236" y="682"/>
                  </a:lnTo>
                  <a:lnTo>
                    <a:pt x="236" y="677"/>
                  </a:lnTo>
                  <a:lnTo>
                    <a:pt x="236" y="671"/>
                  </a:lnTo>
                  <a:lnTo>
                    <a:pt x="231" y="671"/>
                  </a:lnTo>
                  <a:lnTo>
                    <a:pt x="231" y="666"/>
                  </a:lnTo>
                  <a:lnTo>
                    <a:pt x="225" y="666"/>
                  </a:lnTo>
                  <a:lnTo>
                    <a:pt x="225" y="660"/>
                  </a:lnTo>
                  <a:lnTo>
                    <a:pt x="225" y="655"/>
                  </a:lnTo>
                  <a:lnTo>
                    <a:pt x="220" y="655"/>
                  </a:lnTo>
                  <a:lnTo>
                    <a:pt x="220" y="649"/>
                  </a:lnTo>
                  <a:lnTo>
                    <a:pt x="220" y="644"/>
                  </a:lnTo>
                  <a:lnTo>
                    <a:pt x="214" y="644"/>
                  </a:lnTo>
                  <a:lnTo>
                    <a:pt x="214" y="638"/>
                  </a:lnTo>
                  <a:lnTo>
                    <a:pt x="220" y="638"/>
                  </a:lnTo>
                  <a:lnTo>
                    <a:pt x="225" y="627"/>
                  </a:lnTo>
                  <a:lnTo>
                    <a:pt x="225" y="622"/>
                  </a:lnTo>
                  <a:lnTo>
                    <a:pt x="220" y="611"/>
                  </a:lnTo>
                  <a:lnTo>
                    <a:pt x="209" y="605"/>
                  </a:lnTo>
                  <a:lnTo>
                    <a:pt x="209" y="594"/>
                  </a:lnTo>
                  <a:lnTo>
                    <a:pt x="203" y="589"/>
                  </a:lnTo>
                  <a:lnTo>
                    <a:pt x="203" y="583"/>
                  </a:lnTo>
                  <a:lnTo>
                    <a:pt x="198" y="578"/>
                  </a:lnTo>
                  <a:lnTo>
                    <a:pt x="198" y="572"/>
                  </a:lnTo>
                  <a:lnTo>
                    <a:pt x="192" y="567"/>
                  </a:lnTo>
                  <a:lnTo>
                    <a:pt x="187" y="567"/>
                  </a:lnTo>
                  <a:lnTo>
                    <a:pt x="187" y="561"/>
                  </a:lnTo>
                  <a:lnTo>
                    <a:pt x="181" y="556"/>
                  </a:lnTo>
                  <a:lnTo>
                    <a:pt x="181" y="550"/>
                  </a:lnTo>
                  <a:lnTo>
                    <a:pt x="181" y="545"/>
                  </a:lnTo>
                  <a:lnTo>
                    <a:pt x="181" y="539"/>
                  </a:lnTo>
                  <a:lnTo>
                    <a:pt x="176" y="534"/>
                  </a:lnTo>
                  <a:lnTo>
                    <a:pt x="170" y="528"/>
                  </a:lnTo>
                  <a:lnTo>
                    <a:pt x="159" y="523"/>
                  </a:lnTo>
                  <a:lnTo>
                    <a:pt x="159" y="517"/>
                  </a:lnTo>
                  <a:lnTo>
                    <a:pt x="159" y="512"/>
                  </a:lnTo>
                  <a:lnTo>
                    <a:pt x="159" y="506"/>
                  </a:lnTo>
                  <a:lnTo>
                    <a:pt x="159" y="501"/>
                  </a:lnTo>
                  <a:lnTo>
                    <a:pt x="154" y="501"/>
                  </a:lnTo>
                  <a:lnTo>
                    <a:pt x="154" y="495"/>
                  </a:lnTo>
                  <a:lnTo>
                    <a:pt x="154" y="490"/>
                  </a:lnTo>
                  <a:lnTo>
                    <a:pt x="148" y="490"/>
                  </a:lnTo>
                  <a:lnTo>
                    <a:pt x="148" y="484"/>
                  </a:lnTo>
                  <a:lnTo>
                    <a:pt x="143" y="479"/>
                  </a:lnTo>
                  <a:lnTo>
                    <a:pt x="143" y="473"/>
                  </a:lnTo>
                  <a:lnTo>
                    <a:pt x="137" y="473"/>
                  </a:lnTo>
                  <a:lnTo>
                    <a:pt x="137" y="468"/>
                  </a:lnTo>
                  <a:lnTo>
                    <a:pt x="137" y="462"/>
                  </a:lnTo>
                  <a:lnTo>
                    <a:pt x="132" y="457"/>
                  </a:lnTo>
                  <a:lnTo>
                    <a:pt x="137" y="457"/>
                  </a:lnTo>
                  <a:lnTo>
                    <a:pt x="132" y="457"/>
                  </a:lnTo>
                  <a:lnTo>
                    <a:pt x="132" y="451"/>
                  </a:lnTo>
                  <a:lnTo>
                    <a:pt x="132" y="446"/>
                  </a:lnTo>
                  <a:lnTo>
                    <a:pt x="126" y="446"/>
                  </a:lnTo>
                  <a:lnTo>
                    <a:pt x="126" y="435"/>
                  </a:lnTo>
                  <a:lnTo>
                    <a:pt x="126" y="429"/>
                  </a:lnTo>
                  <a:lnTo>
                    <a:pt x="121" y="429"/>
                  </a:lnTo>
                  <a:lnTo>
                    <a:pt x="121" y="424"/>
                  </a:lnTo>
                  <a:lnTo>
                    <a:pt x="121" y="429"/>
                  </a:lnTo>
                  <a:lnTo>
                    <a:pt x="121" y="424"/>
                  </a:lnTo>
                  <a:lnTo>
                    <a:pt x="115" y="424"/>
                  </a:lnTo>
                  <a:lnTo>
                    <a:pt x="121" y="424"/>
                  </a:lnTo>
                  <a:lnTo>
                    <a:pt x="121" y="418"/>
                  </a:lnTo>
                  <a:lnTo>
                    <a:pt x="115" y="418"/>
                  </a:lnTo>
                  <a:lnTo>
                    <a:pt x="115" y="413"/>
                  </a:lnTo>
                  <a:lnTo>
                    <a:pt x="110" y="407"/>
                  </a:lnTo>
                  <a:lnTo>
                    <a:pt x="110" y="402"/>
                  </a:lnTo>
                  <a:lnTo>
                    <a:pt x="110" y="396"/>
                  </a:lnTo>
                  <a:lnTo>
                    <a:pt x="110" y="391"/>
                  </a:lnTo>
                  <a:lnTo>
                    <a:pt x="104" y="391"/>
                  </a:lnTo>
                  <a:lnTo>
                    <a:pt x="104" y="385"/>
                  </a:lnTo>
                  <a:lnTo>
                    <a:pt x="104" y="380"/>
                  </a:lnTo>
                  <a:lnTo>
                    <a:pt x="99" y="380"/>
                  </a:lnTo>
                  <a:lnTo>
                    <a:pt x="93" y="374"/>
                  </a:lnTo>
                  <a:lnTo>
                    <a:pt x="88" y="363"/>
                  </a:lnTo>
                  <a:lnTo>
                    <a:pt x="82" y="358"/>
                  </a:lnTo>
                  <a:lnTo>
                    <a:pt x="82" y="352"/>
                  </a:lnTo>
                  <a:lnTo>
                    <a:pt x="77" y="352"/>
                  </a:lnTo>
                  <a:lnTo>
                    <a:pt x="77" y="347"/>
                  </a:lnTo>
                  <a:lnTo>
                    <a:pt x="77" y="341"/>
                  </a:lnTo>
                  <a:lnTo>
                    <a:pt x="77" y="336"/>
                  </a:lnTo>
                  <a:lnTo>
                    <a:pt x="71" y="330"/>
                  </a:lnTo>
                  <a:lnTo>
                    <a:pt x="71" y="325"/>
                  </a:lnTo>
                  <a:lnTo>
                    <a:pt x="66" y="325"/>
                  </a:lnTo>
                  <a:lnTo>
                    <a:pt x="66" y="319"/>
                  </a:lnTo>
                  <a:lnTo>
                    <a:pt x="60" y="319"/>
                  </a:lnTo>
                  <a:lnTo>
                    <a:pt x="60" y="314"/>
                  </a:lnTo>
                  <a:lnTo>
                    <a:pt x="55" y="308"/>
                  </a:lnTo>
                  <a:lnTo>
                    <a:pt x="44" y="303"/>
                  </a:lnTo>
                  <a:lnTo>
                    <a:pt x="33" y="297"/>
                  </a:lnTo>
                  <a:lnTo>
                    <a:pt x="22" y="292"/>
                  </a:lnTo>
                  <a:lnTo>
                    <a:pt x="16" y="286"/>
                  </a:lnTo>
                  <a:lnTo>
                    <a:pt x="11" y="281"/>
                  </a:lnTo>
                  <a:lnTo>
                    <a:pt x="5" y="275"/>
                  </a:lnTo>
                  <a:lnTo>
                    <a:pt x="5" y="270"/>
                  </a:lnTo>
                  <a:lnTo>
                    <a:pt x="11" y="270"/>
                  </a:lnTo>
                  <a:lnTo>
                    <a:pt x="16" y="270"/>
                  </a:lnTo>
                  <a:lnTo>
                    <a:pt x="16" y="264"/>
                  </a:lnTo>
                  <a:lnTo>
                    <a:pt x="22" y="259"/>
                  </a:lnTo>
                  <a:lnTo>
                    <a:pt x="16" y="253"/>
                  </a:lnTo>
                  <a:lnTo>
                    <a:pt x="11" y="248"/>
                  </a:lnTo>
                  <a:lnTo>
                    <a:pt x="11" y="242"/>
                  </a:lnTo>
                  <a:lnTo>
                    <a:pt x="5" y="242"/>
                  </a:lnTo>
                  <a:lnTo>
                    <a:pt x="5" y="237"/>
                  </a:lnTo>
                  <a:lnTo>
                    <a:pt x="11" y="237"/>
                  </a:lnTo>
                  <a:lnTo>
                    <a:pt x="11" y="231"/>
                  </a:lnTo>
                  <a:lnTo>
                    <a:pt x="5" y="226"/>
                  </a:lnTo>
                  <a:lnTo>
                    <a:pt x="0" y="215"/>
                  </a:lnTo>
                  <a:lnTo>
                    <a:pt x="0" y="209"/>
                  </a:lnTo>
                  <a:lnTo>
                    <a:pt x="0" y="204"/>
                  </a:lnTo>
                  <a:lnTo>
                    <a:pt x="0" y="198"/>
                  </a:lnTo>
                  <a:lnTo>
                    <a:pt x="5" y="198"/>
                  </a:lnTo>
                  <a:lnTo>
                    <a:pt x="5" y="193"/>
                  </a:lnTo>
                  <a:lnTo>
                    <a:pt x="11" y="193"/>
                  </a:lnTo>
                  <a:lnTo>
                    <a:pt x="11" y="187"/>
                  </a:lnTo>
                  <a:lnTo>
                    <a:pt x="16" y="182"/>
                  </a:lnTo>
                  <a:lnTo>
                    <a:pt x="22" y="182"/>
                  </a:lnTo>
                  <a:lnTo>
                    <a:pt x="22" y="176"/>
                  </a:lnTo>
                  <a:lnTo>
                    <a:pt x="22" y="171"/>
                  </a:lnTo>
                  <a:lnTo>
                    <a:pt x="33" y="165"/>
                  </a:lnTo>
                  <a:lnTo>
                    <a:pt x="33" y="160"/>
                  </a:lnTo>
                  <a:lnTo>
                    <a:pt x="44" y="160"/>
                  </a:lnTo>
                  <a:lnTo>
                    <a:pt x="44" y="154"/>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sp>
          <p:nvSpPr>
            <p:cNvPr id="214" name="Freeform 10">
              <a:extLst>
                <a:ext uri="{FF2B5EF4-FFF2-40B4-BE49-F238E27FC236}">
                  <a16:creationId xmlns:a16="http://schemas.microsoft.com/office/drawing/2014/main" id="{508ED936-924E-4608-98CB-835D892D6D53}"/>
                </a:ext>
              </a:extLst>
            </p:cNvPr>
            <p:cNvSpPr>
              <a:spLocks/>
            </p:cNvSpPr>
            <p:nvPr/>
          </p:nvSpPr>
          <p:spPr bwMode="auto">
            <a:xfrm rot="21367780">
              <a:off x="4218404" y="1853920"/>
              <a:ext cx="316749" cy="334888"/>
            </a:xfrm>
            <a:custGeom>
              <a:avLst/>
              <a:gdLst>
                <a:gd name="T0" fmla="*/ 165 w 181"/>
                <a:gd name="T1" fmla="*/ 39 h 193"/>
                <a:gd name="T2" fmla="*/ 159 w 181"/>
                <a:gd name="T3" fmla="*/ 50 h 193"/>
                <a:gd name="T4" fmla="*/ 159 w 181"/>
                <a:gd name="T5" fmla="*/ 61 h 193"/>
                <a:gd name="T6" fmla="*/ 159 w 181"/>
                <a:gd name="T7" fmla="*/ 72 h 193"/>
                <a:gd name="T8" fmla="*/ 165 w 181"/>
                <a:gd name="T9" fmla="*/ 83 h 193"/>
                <a:gd name="T10" fmla="*/ 170 w 181"/>
                <a:gd name="T11" fmla="*/ 99 h 193"/>
                <a:gd name="T12" fmla="*/ 176 w 181"/>
                <a:gd name="T13" fmla="*/ 110 h 193"/>
                <a:gd name="T14" fmla="*/ 176 w 181"/>
                <a:gd name="T15" fmla="*/ 116 h 193"/>
                <a:gd name="T16" fmla="*/ 170 w 181"/>
                <a:gd name="T17" fmla="*/ 127 h 193"/>
                <a:gd name="T18" fmla="*/ 170 w 181"/>
                <a:gd name="T19" fmla="*/ 132 h 193"/>
                <a:gd name="T20" fmla="*/ 170 w 181"/>
                <a:gd name="T21" fmla="*/ 138 h 193"/>
                <a:gd name="T22" fmla="*/ 170 w 181"/>
                <a:gd name="T23" fmla="*/ 143 h 193"/>
                <a:gd name="T24" fmla="*/ 159 w 181"/>
                <a:gd name="T25" fmla="*/ 165 h 193"/>
                <a:gd name="T26" fmla="*/ 154 w 181"/>
                <a:gd name="T27" fmla="*/ 171 h 193"/>
                <a:gd name="T28" fmla="*/ 148 w 181"/>
                <a:gd name="T29" fmla="*/ 165 h 193"/>
                <a:gd name="T30" fmla="*/ 137 w 181"/>
                <a:gd name="T31" fmla="*/ 154 h 193"/>
                <a:gd name="T32" fmla="*/ 132 w 181"/>
                <a:gd name="T33" fmla="*/ 154 h 193"/>
                <a:gd name="T34" fmla="*/ 104 w 181"/>
                <a:gd name="T35" fmla="*/ 165 h 193"/>
                <a:gd name="T36" fmla="*/ 88 w 181"/>
                <a:gd name="T37" fmla="*/ 171 h 193"/>
                <a:gd name="T38" fmla="*/ 99 w 181"/>
                <a:gd name="T39" fmla="*/ 187 h 193"/>
                <a:gd name="T40" fmla="*/ 71 w 181"/>
                <a:gd name="T41" fmla="*/ 187 h 193"/>
                <a:gd name="T42" fmla="*/ 55 w 181"/>
                <a:gd name="T43" fmla="*/ 176 h 193"/>
                <a:gd name="T44" fmla="*/ 49 w 181"/>
                <a:gd name="T45" fmla="*/ 165 h 193"/>
                <a:gd name="T46" fmla="*/ 49 w 181"/>
                <a:gd name="T47" fmla="*/ 160 h 193"/>
                <a:gd name="T48" fmla="*/ 49 w 181"/>
                <a:gd name="T49" fmla="*/ 154 h 193"/>
                <a:gd name="T50" fmla="*/ 44 w 181"/>
                <a:gd name="T51" fmla="*/ 149 h 193"/>
                <a:gd name="T52" fmla="*/ 38 w 181"/>
                <a:gd name="T53" fmla="*/ 143 h 193"/>
                <a:gd name="T54" fmla="*/ 38 w 181"/>
                <a:gd name="T55" fmla="*/ 138 h 193"/>
                <a:gd name="T56" fmla="*/ 38 w 181"/>
                <a:gd name="T57" fmla="*/ 132 h 193"/>
                <a:gd name="T58" fmla="*/ 38 w 181"/>
                <a:gd name="T59" fmla="*/ 127 h 193"/>
                <a:gd name="T60" fmla="*/ 33 w 181"/>
                <a:gd name="T61" fmla="*/ 121 h 193"/>
                <a:gd name="T62" fmla="*/ 27 w 181"/>
                <a:gd name="T63" fmla="*/ 121 h 193"/>
                <a:gd name="T64" fmla="*/ 22 w 181"/>
                <a:gd name="T65" fmla="*/ 121 h 193"/>
                <a:gd name="T66" fmla="*/ 16 w 181"/>
                <a:gd name="T67" fmla="*/ 110 h 193"/>
                <a:gd name="T68" fmla="*/ 11 w 181"/>
                <a:gd name="T69" fmla="*/ 99 h 193"/>
                <a:gd name="T70" fmla="*/ 0 w 181"/>
                <a:gd name="T71" fmla="*/ 83 h 193"/>
                <a:gd name="T72" fmla="*/ 5 w 181"/>
                <a:gd name="T73" fmla="*/ 72 h 193"/>
                <a:gd name="T74" fmla="*/ 5 w 181"/>
                <a:gd name="T75" fmla="*/ 55 h 193"/>
                <a:gd name="T76" fmla="*/ 16 w 181"/>
                <a:gd name="T77" fmla="*/ 44 h 193"/>
                <a:gd name="T78" fmla="*/ 27 w 181"/>
                <a:gd name="T79" fmla="*/ 44 h 193"/>
                <a:gd name="T80" fmla="*/ 33 w 181"/>
                <a:gd name="T81" fmla="*/ 44 h 193"/>
                <a:gd name="T82" fmla="*/ 38 w 181"/>
                <a:gd name="T83" fmla="*/ 39 h 193"/>
                <a:gd name="T84" fmla="*/ 38 w 181"/>
                <a:gd name="T85" fmla="*/ 33 h 193"/>
                <a:gd name="T86" fmla="*/ 33 w 181"/>
                <a:gd name="T87" fmla="*/ 28 h 193"/>
                <a:gd name="T88" fmla="*/ 38 w 181"/>
                <a:gd name="T89" fmla="*/ 17 h 193"/>
                <a:gd name="T90" fmla="*/ 49 w 181"/>
                <a:gd name="T91" fmla="*/ 0 h 193"/>
                <a:gd name="T92" fmla="*/ 88 w 181"/>
                <a:gd name="T93" fmla="*/ 6 h 193"/>
                <a:gd name="T94" fmla="*/ 99 w 181"/>
                <a:gd name="T95" fmla="*/ 11 h 193"/>
                <a:gd name="T96" fmla="*/ 99 w 181"/>
                <a:gd name="T97" fmla="*/ 0 h 193"/>
                <a:gd name="T98" fmla="*/ 126 w 181"/>
                <a:gd name="T99" fmla="*/ 6 h 193"/>
                <a:gd name="T100" fmla="*/ 132 w 181"/>
                <a:gd name="T101" fmla="*/ 6 h 193"/>
                <a:gd name="T102" fmla="*/ 132 w 181"/>
                <a:gd name="T103" fmla="*/ 6 h 193"/>
                <a:gd name="T104" fmla="*/ 143 w 181"/>
                <a:gd name="T105" fmla="*/ 6 h 193"/>
                <a:gd name="T106" fmla="*/ 132 w 181"/>
                <a:gd name="T107" fmla="*/ 6 h 193"/>
                <a:gd name="T108" fmla="*/ 126 w 181"/>
                <a:gd name="T109" fmla="*/ 0 h 193"/>
                <a:gd name="T110" fmla="*/ 154 w 181"/>
                <a:gd name="T111" fmla="*/ 0 h 193"/>
                <a:gd name="T112" fmla="*/ 176 w 181"/>
                <a:gd name="T113" fmla="*/ 6 h 193"/>
                <a:gd name="T114" fmla="*/ 176 w 181"/>
                <a:gd name="T115" fmla="*/ 17 h 19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1"/>
                <a:gd name="T175" fmla="*/ 0 h 193"/>
                <a:gd name="T176" fmla="*/ 181 w 181"/>
                <a:gd name="T177" fmla="*/ 193 h 19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1" h="193">
                  <a:moveTo>
                    <a:pt x="170" y="28"/>
                  </a:moveTo>
                  <a:lnTo>
                    <a:pt x="170" y="33"/>
                  </a:lnTo>
                  <a:lnTo>
                    <a:pt x="165" y="33"/>
                  </a:lnTo>
                  <a:lnTo>
                    <a:pt x="165" y="39"/>
                  </a:lnTo>
                  <a:lnTo>
                    <a:pt x="159" y="44"/>
                  </a:lnTo>
                  <a:lnTo>
                    <a:pt x="159" y="50"/>
                  </a:lnTo>
                  <a:lnTo>
                    <a:pt x="159" y="55"/>
                  </a:lnTo>
                  <a:lnTo>
                    <a:pt x="159" y="61"/>
                  </a:lnTo>
                  <a:lnTo>
                    <a:pt x="159" y="66"/>
                  </a:lnTo>
                  <a:lnTo>
                    <a:pt x="159" y="72"/>
                  </a:lnTo>
                  <a:lnTo>
                    <a:pt x="159" y="77"/>
                  </a:lnTo>
                  <a:lnTo>
                    <a:pt x="159" y="83"/>
                  </a:lnTo>
                  <a:lnTo>
                    <a:pt x="165" y="83"/>
                  </a:lnTo>
                  <a:lnTo>
                    <a:pt x="165" y="88"/>
                  </a:lnTo>
                  <a:lnTo>
                    <a:pt x="165" y="94"/>
                  </a:lnTo>
                  <a:lnTo>
                    <a:pt x="170" y="99"/>
                  </a:lnTo>
                  <a:lnTo>
                    <a:pt x="176" y="99"/>
                  </a:lnTo>
                  <a:lnTo>
                    <a:pt x="176" y="110"/>
                  </a:lnTo>
                  <a:lnTo>
                    <a:pt x="181" y="110"/>
                  </a:lnTo>
                  <a:lnTo>
                    <a:pt x="176" y="110"/>
                  </a:lnTo>
                  <a:lnTo>
                    <a:pt x="176" y="116"/>
                  </a:lnTo>
                  <a:lnTo>
                    <a:pt x="176" y="121"/>
                  </a:lnTo>
                  <a:lnTo>
                    <a:pt x="170" y="127"/>
                  </a:lnTo>
                  <a:lnTo>
                    <a:pt x="170" y="132"/>
                  </a:lnTo>
                  <a:lnTo>
                    <a:pt x="170" y="138"/>
                  </a:lnTo>
                  <a:lnTo>
                    <a:pt x="170" y="143"/>
                  </a:lnTo>
                  <a:lnTo>
                    <a:pt x="170" y="149"/>
                  </a:lnTo>
                  <a:lnTo>
                    <a:pt x="165" y="154"/>
                  </a:lnTo>
                  <a:lnTo>
                    <a:pt x="165" y="160"/>
                  </a:lnTo>
                  <a:lnTo>
                    <a:pt x="159" y="165"/>
                  </a:lnTo>
                  <a:lnTo>
                    <a:pt x="154" y="171"/>
                  </a:lnTo>
                  <a:lnTo>
                    <a:pt x="154" y="165"/>
                  </a:lnTo>
                  <a:lnTo>
                    <a:pt x="154" y="171"/>
                  </a:lnTo>
                  <a:lnTo>
                    <a:pt x="148" y="171"/>
                  </a:lnTo>
                  <a:lnTo>
                    <a:pt x="148" y="165"/>
                  </a:lnTo>
                  <a:lnTo>
                    <a:pt x="148" y="160"/>
                  </a:lnTo>
                  <a:lnTo>
                    <a:pt x="143" y="165"/>
                  </a:lnTo>
                  <a:lnTo>
                    <a:pt x="137" y="154"/>
                  </a:lnTo>
                  <a:lnTo>
                    <a:pt x="132" y="160"/>
                  </a:lnTo>
                  <a:lnTo>
                    <a:pt x="132" y="154"/>
                  </a:lnTo>
                  <a:lnTo>
                    <a:pt x="126" y="160"/>
                  </a:lnTo>
                  <a:lnTo>
                    <a:pt x="121" y="160"/>
                  </a:lnTo>
                  <a:lnTo>
                    <a:pt x="121" y="165"/>
                  </a:lnTo>
                  <a:lnTo>
                    <a:pt x="104" y="165"/>
                  </a:lnTo>
                  <a:lnTo>
                    <a:pt x="93" y="160"/>
                  </a:lnTo>
                  <a:lnTo>
                    <a:pt x="88" y="165"/>
                  </a:lnTo>
                  <a:lnTo>
                    <a:pt x="88" y="171"/>
                  </a:lnTo>
                  <a:lnTo>
                    <a:pt x="93" y="176"/>
                  </a:lnTo>
                  <a:lnTo>
                    <a:pt x="99" y="182"/>
                  </a:lnTo>
                  <a:lnTo>
                    <a:pt x="99" y="187"/>
                  </a:lnTo>
                  <a:lnTo>
                    <a:pt x="93" y="193"/>
                  </a:lnTo>
                  <a:lnTo>
                    <a:pt x="77" y="187"/>
                  </a:lnTo>
                  <a:lnTo>
                    <a:pt x="71" y="187"/>
                  </a:lnTo>
                  <a:lnTo>
                    <a:pt x="66" y="182"/>
                  </a:lnTo>
                  <a:lnTo>
                    <a:pt x="60" y="182"/>
                  </a:lnTo>
                  <a:lnTo>
                    <a:pt x="55" y="176"/>
                  </a:lnTo>
                  <a:lnTo>
                    <a:pt x="55" y="171"/>
                  </a:lnTo>
                  <a:lnTo>
                    <a:pt x="55" y="165"/>
                  </a:lnTo>
                  <a:lnTo>
                    <a:pt x="49" y="165"/>
                  </a:lnTo>
                  <a:lnTo>
                    <a:pt x="49" y="160"/>
                  </a:lnTo>
                  <a:lnTo>
                    <a:pt x="44" y="154"/>
                  </a:lnTo>
                  <a:lnTo>
                    <a:pt x="49" y="154"/>
                  </a:lnTo>
                  <a:lnTo>
                    <a:pt x="44" y="154"/>
                  </a:lnTo>
                  <a:lnTo>
                    <a:pt x="44" y="149"/>
                  </a:lnTo>
                  <a:lnTo>
                    <a:pt x="44" y="143"/>
                  </a:lnTo>
                  <a:lnTo>
                    <a:pt x="38" y="143"/>
                  </a:lnTo>
                  <a:lnTo>
                    <a:pt x="38" y="138"/>
                  </a:lnTo>
                  <a:lnTo>
                    <a:pt x="38" y="132"/>
                  </a:lnTo>
                  <a:lnTo>
                    <a:pt x="38" y="127"/>
                  </a:lnTo>
                  <a:lnTo>
                    <a:pt x="33" y="121"/>
                  </a:lnTo>
                  <a:lnTo>
                    <a:pt x="38" y="121"/>
                  </a:lnTo>
                  <a:lnTo>
                    <a:pt x="33" y="121"/>
                  </a:lnTo>
                  <a:lnTo>
                    <a:pt x="27" y="121"/>
                  </a:lnTo>
                  <a:lnTo>
                    <a:pt x="22" y="121"/>
                  </a:lnTo>
                  <a:lnTo>
                    <a:pt x="16" y="121"/>
                  </a:lnTo>
                  <a:lnTo>
                    <a:pt x="22" y="116"/>
                  </a:lnTo>
                  <a:lnTo>
                    <a:pt x="16" y="110"/>
                  </a:lnTo>
                  <a:lnTo>
                    <a:pt x="11" y="105"/>
                  </a:lnTo>
                  <a:lnTo>
                    <a:pt x="11" y="99"/>
                  </a:lnTo>
                  <a:lnTo>
                    <a:pt x="5" y="94"/>
                  </a:lnTo>
                  <a:lnTo>
                    <a:pt x="0" y="88"/>
                  </a:lnTo>
                  <a:lnTo>
                    <a:pt x="0" y="83"/>
                  </a:lnTo>
                  <a:lnTo>
                    <a:pt x="5" y="83"/>
                  </a:lnTo>
                  <a:lnTo>
                    <a:pt x="5" y="77"/>
                  </a:lnTo>
                  <a:lnTo>
                    <a:pt x="5" y="72"/>
                  </a:lnTo>
                  <a:lnTo>
                    <a:pt x="11" y="61"/>
                  </a:lnTo>
                  <a:lnTo>
                    <a:pt x="11" y="55"/>
                  </a:lnTo>
                  <a:lnTo>
                    <a:pt x="5" y="55"/>
                  </a:lnTo>
                  <a:lnTo>
                    <a:pt x="11" y="50"/>
                  </a:lnTo>
                  <a:lnTo>
                    <a:pt x="16" y="50"/>
                  </a:lnTo>
                  <a:lnTo>
                    <a:pt x="16" y="44"/>
                  </a:lnTo>
                  <a:lnTo>
                    <a:pt x="22" y="44"/>
                  </a:lnTo>
                  <a:lnTo>
                    <a:pt x="27" y="44"/>
                  </a:lnTo>
                  <a:lnTo>
                    <a:pt x="33" y="44"/>
                  </a:lnTo>
                  <a:lnTo>
                    <a:pt x="38" y="44"/>
                  </a:lnTo>
                  <a:lnTo>
                    <a:pt x="33" y="44"/>
                  </a:lnTo>
                  <a:lnTo>
                    <a:pt x="33" y="39"/>
                  </a:lnTo>
                  <a:lnTo>
                    <a:pt x="38" y="39"/>
                  </a:lnTo>
                  <a:lnTo>
                    <a:pt x="38" y="33"/>
                  </a:lnTo>
                  <a:lnTo>
                    <a:pt x="38" y="28"/>
                  </a:lnTo>
                  <a:lnTo>
                    <a:pt x="33" y="28"/>
                  </a:lnTo>
                  <a:lnTo>
                    <a:pt x="38" y="28"/>
                  </a:lnTo>
                  <a:lnTo>
                    <a:pt x="38" y="22"/>
                  </a:lnTo>
                  <a:lnTo>
                    <a:pt x="38" y="17"/>
                  </a:lnTo>
                  <a:lnTo>
                    <a:pt x="44" y="11"/>
                  </a:lnTo>
                  <a:lnTo>
                    <a:pt x="44" y="6"/>
                  </a:lnTo>
                  <a:lnTo>
                    <a:pt x="44" y="0"/>
                  </a:lnTo>
                  <a:lnTo>
                    <a:pt x="49" y="0"/>
                  </a:lnTo>
                  <a:lnTo>
                    <a:pt x="60" y="0"/>
                  </a:lnTo>
                  <a:lnTo>
                    <a:pt x="66" y="0"/>
                  </a:lnTo>
                  <a:lnTo>
                    <a:pt x="71" y="0"/>
                  </a:lnTo>
                  <a:lnTo>
                    <a:pt x="88" y="6"/>
                  </a:lnTo>
                  <a:lnTo>
                    <a:pt x="93" y="6"/>
                  </a:lnTo>
                  <a:lnTo>
                    <a:pt x="99" y="11"/>
                  </a:lnTo>
                  <a:lnTo>
                    <a:pt x="99" y="17"/>
                  </a:lnTo>
                  <a:lnTo>
                    <a:pt x="99" y="11"/>
                  </a:lnTo>
                  <a:lnTo>
                    <a:pt x="99" y="6"/>
                  </a:lnTo>
                  <a:lnTo>
                    <a:pt x="93" y="6"/>
                  </a:lnTo>
                  <a:lnTo>
                    <a:pt x="99" y="0"/>
                  </a:lnTo>
                  <a:lnTo>
                    <a:pt x="104" y="0"/>
                  </a:lnTo>
                  <a:lnTo>
                    <a:pt x="121" y="0"/>
                  </a:lnTo>
                  <a:lnTo>
                    <a:pt x="126" y="6"/>
                  </a:lnTo>
                  <a:lnTo>
                    <a:pt x="132" y="6"/>
                  </a:lnTo>
                  <a:lnTo>
                    <a:pt x="137" y="6"/>
                  </a:lnTo>
                  <a:lnTo>
                    <a:pt x="143" y="6"/>
                  </a:lnTo>
                  <a:lnTo>
                    <a:pt x="137" y="6"/>
                  </a:lnTo>
                  <a:lnTo>
                    <a:pt x="132" y="6"/>
                  </a:lnTo>
                  <a:lnTo>
                    <a:pt x="132" y="0"/>
                  </a:lnTo>
                  <a:lnTo>
                    <a:pt x="126" y="0"/>
                  </a:lnTo>
                  <a:lnTo>
                    <a:pt x="132" y="0"/>
                  </a:lnTo>
                  <a:lnTo>
                    <a:pt x="137" y="0"/>
                  </a:lnTo>
                  <a:lnTo>
                    <a:pt x="143" y="0"/>
                  </a:lnTo>
                  <a:lnTo>
                    <a:pt x="154" y="0"/>
                  </a:lnTo>
                  <a:lnTo>
                    <a:pt x="165" y="6"/>
                  </a:lnTo>
                  <a:lnTo>
                    <a:pt x="170" y="6"/>
                  </a:lnTo>
                  <a:lnTo>
                    <a:pt x="176" y="6"/>
                  </a:lnTo>
                  <a:lnTo>
                    <a:pt x="181" y="11"/>
                  </a:lnTo>
                  <a:lnTo>
                    <a:pt x="176" y="17"/>
                  </a:lnTo>
                  <a:lnTo>
                    <a:pt x="176" y="22"/>
                  </a:lnTo>
                  <a:lnTo>
                    <a:pt x="170" y="28"/>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sp>
          <p:nvSpPr>
            <p:cNvPr id="215" name="Freeform 11">
              <a:extLst>
                <a:ext uri="{FF2B5EF4-FFF2-40B4-BE49-F238E27FC236}">
                  <a16:creationId xmlns:a16="http://schemas.microsoft.com/office/drawing/2014/main" id="{ECFBACC2-82B2-4E1B-A615-E02BFD652BBB}"/>
                </a:ext>
              </a:extLst>
            </p:cNvPr>
            <p:cNvSpPr>
              <a:spLocks/>
            </p:cNvSpPr>
            <p:nvPr/>
          </p:nvSpPr>
          <p:spPr bwMode="auto">
            <a:xfrm rot="21367780">
              <a:off x="4385875" y="4733214"/>
              <a:ext cx="414488" cy="381953"/>
            </a:xfrm>
            <a:custGeom>
              <a:avLst/>
              <a:gdLst>
                <a:gd name="T0" fmla="*/ 220 w 237"/>
                <a:gd name="T1" fmla="*/ 165 h 220"/>
                <a:gd name="T2" fmla="*/ 215 w 237"/>
                <a:gd name="T3" fmla="*/ 143 h 220"/>
                <a:gd name="T4" fmla="*/ 226 w 237"/>
                <a:gd name="T5" fmla="*/ 127 h 220"/>
                <a:gd name="T6" fmla="*/ 220 w 237"/>
                <a:gd name="T7" fmla="*/ 110 h 220"/>
                <a:gd name="T8" fmla="*/ 209 w 237"/>
                <a:gd name="T9" fmla="*/ 99 h 220"/>
                <a:gd name="T10" fmla="*/ 209 w 237"/>
                <a:gd name="T11" fmla="*/ 88 h 220"/>
                <a:gd name="T12" fmla="*/ 193 w 237"/>
                <a:gd name="T13" fmla="*/ 83 h 220"/>
                <a:gd name="T14" fmla="*/ 187 w 237"/>
                <a:gd name="T15" fmla="*/ 83 h 220"/>
                <a:gd name="T16" fmla="*/ 171 w 237"/>
                <a:gd name="T17" fmla="*/ 61 h 220"/>
                <a:gd name="T18" fmla="*/ 149 w 237"/>
                <a:gd name="T19" fmla="*/ 55 h 220"/>
                <a:gd name="T20" fmla="*/ 143 w 237"/>
                <a:gd name="T21" fmla="*/ 50 h 220"/>
                <a:gd name="T22" fmla="*/ 127 w 237"/>
                <a:gd name="T23" fmla="*/ 33 h 220"/>
                <a:gd name="T24" fmla="*/ 121 w 237"/>
                <a:gd name="T25" fmla="*/ 39 h 220"/>
                <a:gd name="T26" fmla="*/ 105 w 237"/>
                <a:gd name="T27" fmla="*/ 22 h 220"/>
                <a:gd name="T28" fmla="*/ 94 w 237"/>
                <a:gd name="T29" fmla="*/ 17 h 220"/>
                <a:gd name="T30" fmla="*/ 83 w 237"/>
                <a:gd name="T31" fmla="*/ 6 h 220"/>
                <a:gd name="T32" fmla="*/ 55 w 237"/>
                <a:gd name="T33" fmla="*/ 6 h 220"/>
                <a:gd name="T34" fmla="*/ 44 w 237"/>
                <a:gd name="T35" fmla="*/ 6 h 220"/>
                <a:gd name="T36" fmla="*/ 39 w 237"/>
                <a:gd name="T37" fmla="*/ 6 h 220"/>
                <a:gd name="T38" fmla="*/ 28 w 237"/>
                <a:gd name="T39" fmla="*/ 17 h 220"/>
                <a:gd name="T40" fmla="*/ 28 w 237"/>
                <a:gd name="T41" fmla="*/ 22 h 220"/>
                <a:gd name="T42" fmla="*/ 28 w 237"/>
                <a:gd name="T43" fmla="*/ 33 h 220"/>
                <a:gd name="T44" fmla="*/ 28 w 237"/>
                <a:gd name="T45" fmla="*/ 39 h 220"/>
                <a:gd name="T46" fmla="*/ 28 w 237"/>
                <a:gd name="T47" fmla="*/ 50 h 220"/>
                <a:gd name="T48" fmla="*/ 22 w 237"/>
                <a:gd name="T49" fmla="*/ 55 h 220"/>
                <a:gd name="T50" fmla="*/ 22 w 237"/>
                <a:gd name="T51" fmla="*/ 66 h 220"/>
                <a:gd name="T52" fmla="*/ 17 w 237"/>
                <a:gd name="T53" fmla="*/ 77 h 220"/>
                <a:gd name="T54" fmla="*/ 17 w 237"/>
                <a:gd name="T55" fmla="*/ 83 h 220"/>
                <a:gd name="T56" fmla="*/ 11 w 237"/>
                <a:gd name="T57" fmla="*/ 94 h 220"/>
                <a:gd name="T58" fmla="*/ 11 w 237"/>
                <a:gd name="T59" fmla="*/ 105 h 220"/>
                <a:gd name="T60" fmla="*/ 17 w 237"/>
                <a:gd name="T61" fmla="*/ 127 h 220"/>
                <a:gd name="T62" fmla="*/ 17 w 237"/>
                <a:gd name="T63" fmla="*/ 138 h 220"/>
                <a:gd name="T64" fmla="*/ 6 w 237"/>
                <a:gd name="T65" fmla="*/ 138 h 220"/>
                <a:gd name="T66" fmla="*/ 6 w 237"/>
                <a:gd name="T67" fmla="*/ 149 h 220"/>
                <a:gd name="T68" fmla="*/ 0 w 237"/>
                <a:gd name="T69" fmla="*/ 154 h 220"/>
                <a:gd name="T70" fmla="*/ 0 w 237"/>
                <a:gd name="T71" fmla="*/ 171 h 220"/>
                <a:gd name="T72" fmla="*/ 11 w 237"/>
                <a:gd name="T73" fmla="*/ 182 h 220"/>
                <a:gd name="T74" fmla="*/ 17 w 237"/>
                <a:gd name="T75" fmla="*/ 187 h 220"/>
                <a:gd name="T76" fmla="*/ 28 w 237"/>
                <a:gd name="T77" fmla="*/ 198 h 220"/>
                <a:gd name="T78" fmla="*/ 44 w 237"/>
                <a:gd name="T79" fmla="*/ 198 h 220"/>
                <a:gd name="T80" fmla="*/ 61 w 237"/>
                <a:gd name="T81" fmla="*/ 198 h 220"/>
                <a:gd name="T82" fmla="*/ 66 w 237"/>
                <a:gd name="T83" fmla="*/ 209 h 220"/>
                <a:gd name="T84" fmla="*/ 83 w 237"/>
                <a:gd name="T85" fmla="*/ 209 h 220"/>
                <a:gd name="T86" fmla="*/ 94 w 237"/>
                <a:gd name="T87" fmla="*/ 215 h 220"/>
                <a:gd name="T88" fmla="*/ 99 w 237"/>
                <a:gd name="T89" fmla="*/ 220 h 220"/>
                <a:gd name="T90" fmla="*/ 99 w 237"/>
                <a:gd name="T91" fmla="*/ 220 h 220"/>
                <a:gd name="T92" fmla="*/ 110 w 237"/>
                <a:gd name="T93" fmla="*/ 220 h 220"/>
                <a:gd name="T94" fmla="*/ 121 w 237"/>
                <a:gd name="T95" fmla="*/ 215 h 220"/>
                <a:gd name="T96" fmla="*/ 138 w 237"/>
                <a:gd name="T97" fmla="*/ 215 h 220"/>
                <a:gd name="T98" fmla="*/ 143 w 237"/>
                <a:gd name="T99" fmla="*/ 220 h 220"/>
                <a:gd name="T100" fmla="*/ 149 w 237"/>
                <a:gd name="T101" fmla="*/ 220 h 220"/>
                <a:gd name="T102" fmla="*/ 154 w 237"/>
                <a:gd name="T103" fmla="*/ 220 h 220"/>
                <a:gd name="T104" fmla="*/ 165 w 237"/>
                <a:gd name="T105" fmla="*/ 220 h 220"/>
                <a:gd name="T106" fmla="*/ 182 w 237"/>
                <a:gd name="T107" fmla="*/ 209 h 220"/>
                <a:gd name="T108" fmla="*/ 182 w 237"/>
                <a:gd name="T109" fmla="*/ 204 h 220"/>
                <a:gd name="T110" fmla="*/ 182 w 237"/>
                <a:gd name="T111" fmla="*/ 209 h 220"/>
                <a:gd name="T112" fmla="*/ 187 w 237"/>
                <a:gd name="T113" fmla="*/ 209 h 220"/>
                <a:gd name="T114" fmla="*/ 198 w 237"/>
                <a:gd name="T115" fmla="*/ 198 h 220"/>
                <a:gd name="T116" fmla="*/ 204 w 237"/>
                <a:gd name="T117" fmla="*/ 193 h 220"/>
                <a:gd name="T118" fmla="*/ 215 w 237"/>
                <a:gd name="T119" fmla="*/ 182 h 220"/>
                <a:gd name="T120" fmla="*/ 226 w 237"/>
                <a:gd name="T121" fmla="*/ 165 h 2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7"/>
                <a:gd name="T184" fmla="*/ 0 h 220"/>
                <a:gd name="T185" fmla="*/ 237 w 237"/>
                <a:gd name="T186" fmla="*/ 220 h 22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7" h="220">
                  <a:moveTo>
                    <a:pt x="220" y="165"/>
                  </a:moveTo>
                  <a:lnTo>
                    <a:pt x="220" y="165"/>
                  </a:lnTo>
                  <a:lnTo>
                    <a:pt x="215" y="160"/>
                  </a:lnTo>
                  <a:lnTo>
                    <a:pt x="220" y="149"/>
                  </a:lnTo>
                  <a:lnTo>
                    <a:pt x="215" y="143"/>
                  </a:lnTo>
                  <a:lnTo>
                    <a:pt x="220" y="132"/>
                  </a:lnTo>
                  <a:lnTo>
                    <a:pt x="226" y="132"/>
                  </a:lnTo>
                  <a:lnTo>
                    <a:pt x="226" y="127"/>
                  </a:lnTo>
                  <a:lnTo>
                    <a:pt x="237" y="116"/>
                  </a:lnTo>
                  <a:lnTo>
                    <a:pt x="231" y="116"/>
                  </a:lnTo>
                  <a:lnTo>
                    <a:pt x="220" y="110"/>
                  </a:lnTo>
                  <a:lnTo>
                    <a:pt x="215" y="105"/>
                  </a:lnTo>
                  <a:lnTo>
                    <a:pt x="209" y="105"/>
                  </a:lnTo>
                  <a:lnTo>
                    <a:pt x="209" y="99"/>
                  </a:lnTo>
                  <a:lnTo>
                    <a:pt x="209" y="94"/>
                  </a:lnTo>
                  <a:lnTo>
                    <a:pt x="209" y="88"/>
                  </a:lnTo>
                  <a:lnTo>
                    <a:pt x="204" y="88"/>
                  </a:lnTo>
                  <a:lnTo>
                    <a:pt x="198" y="83"/>
                  </a:lnTo>
                  <a:lnTo>
                    <a:pt x="193" y="83"/>
                  </a:lnTo>
                  <a:lnTo>
                    <a:pt x="193" y="77"/>
                  </a:lnTo>
                  <a:lnTo>
                    <a:pt x="193" y="83"/>
                  </a:lnTo>
                  <a:lnTo>
                    <a:pt x="187" y="83"/>
                  </a:lnTo>
                  <a:lnTo>
                    <a:pt x="176" y="72"/>
                  </a:lnTo>
                  <a:lnTo>
                    <a:pt x="176" y="66"/>
                  </a:lnTo>
                  <a:lnTo>
                    <a:pt x="171" y="61"/>
                  </a:lnTo>
                  <a:lnTo>
                    <a:pt x="160" y="61"/>
                  </a:lnTo>
                  <a:lnTo>
                    <a:pt x="149" y="50"/>
                  </a:lnTo>
                  <a:lnTo>
                    <a:pt x="149" y="55"/>
                  </a:lnTo>
                  <a:lnTo>
                    <a:pt x="143" y="50"/>
                  </a:lnTo>
                  <a:lnTo>
                    <a:pt x="132" y="39"/>
                  </a:lnTo>
                  <a:lnTo>
                    <a:pt x="127" y="33"/>
                  </a:lnTo>
                  <a:lnTo>
                    <a:pt x="127" y="39"/>
                  </a:lnTo>
                  <a:lnTo>
                    <a:pt x="121" y="39"/>
                  </a:lnTo>
                  <a:lnTo>
                    <a:pt x="110" y="44"/>
                  </a:lnTo>
                  <a:lnTo>
                    <a:pt x="110" y="28"/>
                  </a:lnTo>
                  <a:lnTo>
                    <a:pt x="105" y="22"/>
                  </a:lnTo>
                  <a:lnTo>
                    <a:pt x="99" y="22"/>
                  </a:lnTo>
                  <a:lnTo>
                    <a:pt x="99" y="17"/>
                  </a:lnTo>
                  <a:lnTo>
                    <a:pt x="94" y="17"/>
                  </a:lnTo>
                  <a:lnTo>
                    <a:pt x="83" y="6"/>
                  </a:lnTo>
                  <a:lnTo>
                    <a:pt x="72" y="0"/>
                  </a:lnTo>
                  <a:lnTo>
                    <a:pt x="61" y="0"/>
                  </a:lnTo>
                  <a:lnTo>
                    <a:pt x="55" y="6"/>
                  </a:lnTo>
                  <a:lnTo>
                    <a:pt x="50" y="6"/>
                  </a:lnTo>
                  <a:lnTo>
                    <a:pt x="44" y="6"/>
                  </a:lnTo>
                  <a:lnTo>
                    <a:pt x="39" y="6"/>
                  </a:lnTo>
                  <a:lnTo>
                    <a:pt x="33" y="11"/>
                  </a:lnTo>
                  <a:lnTo>
                    <a:pt x="28" y="17"/>
                  </a:lnTo>
                  <a:lnTo>
                    <a:pt x="28" y="22"/>
                  </a:lnTo>
                  <a:lnTo>
                    <a:pt x="28" y="28"/>
                  </a:lnTo>
                  <a:lnTo>
                    <a:pt x="28" y="33"/>
                  </a:lnTo>
                  <a:lnTo>
                    <a:pt x="22" y="39"/>
                  </a:lnTo>
                  <a:lnTo>
                    <a:pt x="28" y="39"/>
                  </a:lnTo>
                  <a:lnTo>
                    <a:pt x="28" y="44"/>
                  </a:lnTo>
                  <a:lnTo>
                    <a:pt x="22" y="44"/>
                  </a:lnTo>
                  <a:lnTo>
                    <a:pt x="28" y="50"/>
                  </a:lnTo>
                  <a:lnTo>
                    <a:pt x="22" y="50"/>
                  </a:lnTo>
                  <a:lnTo>
                    <a:pt x="22" y="55"/>
                  </a:lnTo>
                  <a:lnTo>
                    <a:pt x="17" y="61"/>
                  </a:lnTo>
                  <a:lnTo>
                    <a:pt x="22" y="66"/>
                  </a:lnTo>
                  <a:lnTo>
                    <a:pt x="22" y="77"/>
                  </a:lnTo>
                  <a:lnTo>
                    <a:pt x="17" y="77"/>
                  </a:lnTo>
                  <a:lnTo>
                    <a:pt x="11" y="77"/>
                  </a:lnTo>
                  <a:lnTo>
                    <a:pt x="17" y="83"/>
                  </a:lnTo>
                  <a:lnTo>
                    <a:pt x="17" y="88"/>
                  </a:lnTo>
                  <a:lnTo>
                    <a:pt x="11" y="94"/>
                  </a:lnTo>
                  <a:lnTo>
                    <a:pt x="17" y="99"/>
                  </a:lnTo>
                  <a:lnTo>
                    <a:pt x="11" y="105"/>
                  </a:lnTo>
                  <a:lnTo>
                    <a:pt x="17" y="110"/>
                  </a:lnTo>
                  <a:lnTo>
                    <a:pt x="17" y="121"/>
                  </a:lnTo>
                  <a:lnTo>
                    <a:pt x="17" y="127"/>
                  </a:lnTo>
                  <a:lnTo>
                    <a:pt x="17" y="132"/>
                  </a:lnTo>
                  <a:lnTo>
                    <a:pt x="17" y="138"/>
                  </a:lnTo>
                  <a:lnTo>
                    <a:pt x="11" y="138"/>
                  </a:lnTo>
                  <a:lnTo>
                    <a:pt x="6" y="138"/>
                  </a:lnTo>
                  <a:lnTo>
                    <a:pt x="6" y="143"/>
                  </a:lnTo>
                  <a:lnTo>
                    <a:pt x="6" y="149"/>
                  </a:lnTo>
                  <a:lnTo>
                    <a:pt x="6" y="154"/>
                  </a:lnTo>
                  <a:lnTo>
                    <a:pt x="0" y="154"/>
                  </a:lnTo>
                  <a:lnTo>
                    <a:pt x="6" y="160"/>
                  </a:lnTo>
                  <a:lnTo>
                    <a:pt x="0" y="165"/>
                  </a:lnTo>
                  <a:lnTo>
                    <a:pt x="0" y="171"/>
                  </a:lnTo>
                  <a:lnTo>
                    <a:pt x="6" y="176"/>
                  </a:lnTo>
                  <a:lnTo>
                    <a:pt x="11" y="176"/>
                  </a:lnTo>
                  <a:lnTo>
                    <a:pt x="11" y="182"/>
                  </a:lnTo>
                  <a:lnTo>
                    <a:pt x="11" y="187"/>
                  </a:lnTo>
                  <a:lnTo>
                    <a:pt x="17" y="187"/>
                  </a:lnTo>
                  <a:lnTo>
                    <a:pt x="22" y="187"/>
                  </a:lnTo>
                  <a:lnTo>
                    <a:pt x="28" y="193"/>
                  </a:lnTo>
                  <a:lnTo>
                    <a:pt x="28" y="198"/>
                  </a:lnTo>
                  <a:lnTo>
                    <a:pt x="39" y="198"/>
                  </a:lnTo>
                  <a:lnTo>
                    <a:pt x="44" y="198"/>
                  </a:lnTo>
                  <a:lnTo>
                    <a:pt x="55" y="198"/>
                  </a:lnTo>
                  <a:lnTo>
                    <a:pt x="61" y="198"/>
                  </a:lnTo>
                  <a:lnTo>
                    <a:pt x="61" y="204"/>
                  </a:lnTo>
                  <a:lnTo>
                    <a:pt x="66" y="209"/>
                  </a:lnTo>
                  <a:lnTo>
                    <a:pt x="72" y="209"/>
                  </a:lnTo>
                  <a:lnTo>
                    <a:pt x="77" y="209"/>
                  </a:lnTo>
                  <a:lnTo>
                    <a:pt x="83" y="209"/>
                  </a:lnTo>
                  <a:lnTo>
                    <a:pt x="83" y="215"/>
                  </a:lnTo>
                  <a:lnTo>
                    <a:pt x="88" y="215"/>
                  </a:lnTo>
                  <a:lnTo>
                    <a:pt x="94" y="215"/>
                  </a:lnTo>
                  <a:lnTo>
                    <a:pt x="88" y="220"/>
                  </a:lnTo>
                  <a:lnTo>
                    <a:pt x="94" y="220"/>
                  </a:lnTo>
                  <a:lnTo>
                    <a:pt x="99" y="220"/>
                  </a:lnTo>
                  <a:lnTo>
                    <a:pt x="105" y="220"/>
                  </a:lnTo>
                  <a:lnTo>
                    <a:pt x="110" y="220"/>
                  </a:lnTo>
                  <a:lnTo>
                    <a:pt x="110" y="215"/>
                  </a:lnTo>
                  <a:lnTo>
                    <a:pt x="121" y="215"/>
                  </a:lnTo>
                  <a:lnTo>
                    <a:pt x="127" y="215"/>
                  </a:lnTo>
                  <a:lnTo>
                    <a:pt x="138" y="215"/>
                  </a:lnTo>
                  <a:lnTo>
                    <a:pt x="138" y="220"/>
                  </a:lnTo>
                  <a:lnTo>
                    <a:pt x="143" y="220"/>
                  </a:lnTo>
                  <a:lnTo>
                    <a:pt x="149" y="220"/>
                  </a:lnTo>
                  <a:lnTo>
                    <a:pt x="154" y="220"/>
                  </a:lnTo>
                  <a:lnTo>
                    <a:pt x="160" y="220"/>
                  </a:lnTo>
                  <a:lnTo>
                    <a:pt x="165" y="220"/>
                  </a:lnTo>
                  <a:lnTo>
                    <a:pt x="171" y="215"/>
                  </a:lnTo>
                  <a:lnTo>
                    <a:pt x="182" y="209"/>
                  </a:lnTo>
                  <a:lnTo>
                    <a:pt x="182" y="204"/>
                  </a:lnTo>
                  <a:lnTo>
                    <a:pt x="182" y="209"/>
                  </a:lnTo>
                  <a:lnTo>
                    <a:pt x="187" y="209"/>
                  </a:lnTo>
                  <a:lnTo>
                    <a:pt x="182" y="209"/>
                  </a:lnTo>
                  <a:lnTo>
                    <a:pt x="187" y="209"/>
                  </a:lnTo>
                  <a:lnTo>
                    <a:pt x="193" y="204"/>
                  </a:lnTo>
                  <a:lnTo>
                    <a:pt x="198" y="198"/>
                  </a:lnTo>
                  <a:lnTo>
                    <a:pt x="204" y="198"/>
                  </a:lnTo>
                  <a:lnTo>
                    <a:pt x="204" y="193"/>
                  </a:lnTo>
                  <a:lnTo>
                    <a:pt x="209" y="187"/>
                  </a:lnTo>
                  <a:lnTo>
                    <a:pt x="215" y="182"/>
                  </a:lnTo>
                  <a:lnTo>
                    <a:pt x="220" y="171"/>
                  </a:lnTo>
                  <a:lnTo>
                    <a:pt x="226" y="165"/>
                  </a:lnTo>
                  <a:lnTo>
                    <a:pt x="220" y="165"/>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sp>
          <p:nvSpPr>
            <p:cNvPr id="216" name="Freeform 12">
              <a:extLst>
                <a:ext uri="{FF2B5EF4-FFF2-40B4-BE49-F238E27FC236}">
                  <a16:creationId xmlns:a16="http://schemas.microsoft.com/office/drawing/2014/main" id="{A766417E-A128-4E85-A31D-0CD7351954AE}"/>
                </a:ext>
              </a:extLst>
            </p:cNvPr>
            <p:cNvSpPr>
              <a:spLocks/>
            </p:cNvSpPr>
            <p:nvPr/>
          </p:nvSpPr>
          <p:spPr bwMode="auto">
            <a:xfrm rot="21367780">
              <a:off x="3041162" y="1414433"/>
              <a:ext cx="1040745" cy="925015"/>
            </a:xfrm>
            <a:custGeom>
              <a:avLst/>
              <a:gdLst>
                <a:gd name="T0" fmla="*/ 270 w 594"/>
                <a:gd name="T1" fmla="*/ 457 h 534"/>
                <a:gd name="T2" fmla="*/ 264 w 594"/>
                <a:gd name="T3" fmla="*/ 413 h 534"/>
                <a:gd name="T4" fmla="*/ 248 w 594"/>
                <a:gd name="T5" fmla="*/ 374 h 534"/>
                <a:gd name="T6" fmla="*/ 242 w 594"/>
                <a:gd name="T7" fmla="*/ 330 h 534"/>
                <a:gd name="T8" fmla="*/ 259 w 594"/>
                <a:gd name="T9" fmla="*/ 281 h 534"/>
                <a:gd name="T10" fmla="*/ 182 w 594"/>
                <a:gd name="T11" fmla="*/ 281 h 534"/>
                <a:gd name="T12" fmla="*/ 116 w 594"/>
                <a:gd name="T13" fmla="*/ 237 h 534"/>
                <a:gd name="T14" fmla="*/ 77 w 594"/>
                <a:gd name="T15" fmla="*/ 237 h 534"/>
                <a:gd name="T16" fmla="*/ 39 w 594"/>
                <a:gd name="T17" fmla="*/ 215 h 534"/>
                <a:gd name="T18" fmla="*/ 28 w 594"/>
                <a:gd name="T19" fmla="*/ 143 h 534"/>
                <a:gd name="T20" fmla="*/ 17 w 594"/>
                <a:gd name="T21" fmla="*/ 110 h 534"/>
                <a:gd name="T22" fmla="*/ 72 w 594"/>
                <a:gd name="T23" fmla="*/ 22 h 534"/>
                <a:gd name="T24" fmla="*/ 77 w 594"/>
                <a:gd name="T25" fmla="*/ 55 h 534"/>
                <a:gd name="T26" fmla="*/ 77 w 594"/>
                <a:gd name="T27" fmla="*/ 77 h 534"/>
                <a:gd name="T28" fmla="*/ 61 w 594"/>
                <a:gd name="T29" fmla="*/ 121 h 534"/>
                <a:gd name="T30" fmla="*/ 66 w 594"/>
                <a:gd name="T31" fmla="*/ 127 h 534"/>
                <a:gd name="T32" fmla="*/ 72 w 594"/>
                <a:gd name="T33" fmla="*/ 143 h 534"/>
                <a:gd name="T34" fmla="*/ 99 w 594"/>
                <a:gd name="T35" fmla="*/ 105 h 534"/>
                <a:gd name="T36" fmla="*/ 83 w 594"/>
                <a:gd name="T37" fmla="*/ 66 h 534"/>
                <a:gd name="T38" fmla="*/ 127 w 594"/>
                <a:gd name="T39" fmla="*/ 39 h 534"/>
                <a:gd name="T40" fmla="*/ 143 w 594"/>
                <a:gd name="T41" fmla="*/ 28 h 534"/>
                <a:gd name="T42" fmla="*/ 138 w 594"/>
                <a:gd name="T43" fmla="*/ 28 h 534"/>
                <a:gd name="T44" fmla="*/ 149 w 594"/>
                <a:gd name="T45" fmla="*/ 0 h 534"/>
                <a:gd name="T46" fmla="*/ 187 w 594"/>
                <a:gd name="T47" fmla="*/ 33 h 534"/>
                <a:gd name="T48" fmla="*/ 220 w 594"/>
                <a:gd name="T49" fmla="*/ 61 h 534"/>
                <a:gd name="T50" fmla="*/ 303 w 594"/>
                <a:gd name="T51" fmla="*/ 72 h 534"/>
                <a:gd name="T52" fmla="*/ 325 w 594"/>
                <a:gd name="T53" fmla="*/ 88 h 534"/>
                <a:gd name="T54" fmla="*/ 374 w 594"/>
                <a:gd name="T55" fmla="*/ 94 h 534"/>
                <a:gd name="T56" fmla="*/ 391 w 594"/>
                <a:gd name="T57" fmla="*/ 88 h 534"/>
                <a:gd name="T58" fmla="*/ 402 w 594"/>
                <a:gd name="T59" fmla="*/ 77 h 534"/>
                <a:gd name="T60" fmla="*/ 396 w 594"/>
                <a:gd name="T61" fmla="*/ 77 h 534"/>
                <a:gd name="T62" fmla="*/ 418 w 594"/>
                <a:gd name="T63" fmla="*/ 66 h 534"/>
                <a:gd name="T64" fmla="*/ 490 w 594"/>
                <a:gd name="T65" fmla="*/ 66 h 534"/>
                <a:gd name="T66" fmla="*/ 457 w 594"/>
                <a:gd name="T67" fmla="*/ 77 h 534"/>
                <a:gd name="T68" fmla="*/ 451 w 594"/>
                <a:gd name="T69" fmla="*/ 88 h 534"/>
                <a:gd name="T70" fmla="*/ 462 w 594"/>
                <a:gd name="T71" fmla="*/ 99 h 534"/>
                <a:gd name="T72" fmla="*/ 462 w 594"/>
                <a:gd name="T73" fmla="*/ 99 h 534"/>
                <a:gd name="T74" fmla="*/ 484 w 594"/>
                <a:gd name="T75" fmla="*/ 116 h 534"/>
                <a:gd name="T76" fmla="*/ 490 w 594"/>
                <a:gd name="T77" fmla="*/ 105 h 534"/>
                <a:gd name="T78" fmla="*/ 506 w 594"/>
                <a:gd name="T79" fmla="*/ 116 h 534"/>
                <a:gd name="T80" fmla="*/ 539 w 594"/>
                <a:gd name="T81" fmla="*/ 121 h 534"/>
                <a:gd name="T82" fmla="*/ 545 w 594"/>
                <a:gd name="T83" fmla="*/ 138 h 534"/>
                <a:gd name="T84" fmla="*/ 528 w 594"/>
                <a:gd name="T85" fmla="*/ 165 h 534"/>
                <a:gd name="T86" fmla="*/ 534 w 594"/>
                <a:gd name="T87" fmla="*/ 171 h 534"/>
                <a:gd name="T88" fmla="*/ 567 w 594"/>
                <a:gd name="T89" fmla="*/ 165 h 534"/>
                <a:gd name="T90" fmla="*/ 578 w 594"/>
                <a:gd name="T91" fmla="*/ 193 h 534"/>
                <a:gd name="T92" fmla="*/ 556 w 594"/>
                <a:gd name="T93" fmla="*/ 220 h 534"/>
                <a:gd name="T94" fmla="*/ 567 w 594"/>
                <a:gd name="T95" fmla="*/ 242 h 534"/>
                <a:gd name="T96" fmla="*/ 534 w 594"/>
                <a:gd name="T97" fmla="*/ 264 h 534"/>
                <a:gd name="T98" fmla="*/ 550 w 594"/>
                <a:gd name="T99" fmla="*/ 341 h 534"/>
                <a:gd name="T100" fmla="*/ 517 w 594"/>
                <a:gd name="T101" fmla="*/ 363 h 534"/>
                <a:gd name="T102" fmla="*/ 473 w 594"/>
                <a:gd name="T103" fmla="*/ 374 h 534"/>
                <a:gd name="T104" fmla="*/ 457 w 594"/>
                <a:gd name="T105" fmla="*/ 396 h 534"/>
                <a:gd name="T106" fmla="*/ 418 w 594"/>
                <a:gd name="T107" fmla="*/ 380 h 534"/>
                <a:gd name="T108" fmla="*/ 380 w 594"/>
                <a:gd name="T109" fmla="*/ 369 h 534"/>
                <a:gd name="T110" fmla="*/ 407 w 594"/>
                <a:gd name="T111" fmla="*/ 435 h 534"/>
                <a:gd name="T112" fmla="*/ 435 w 594"/>
                <a:gd name="T113" fmla="*/ 462 h 534"/>
                <a:gd name="T114" fmla="*/ 391 w 594"/>
                <a:gd name="T115" fmla="*/ 501 h 534"/>
                <a:gd name="T116" fmla="*/ 358 w 594"/>
                <a:gd name="T117" fmla="*/ 506 h 534"/>
                <a:gd name="T118" fmla="*/ 341 w 594"/>
                <a:gd name="T119" fmla="*/ 517 h 53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4"/>
                <a:gd name="T181" fmla="*/ 0 h 534"/>
                <a:gd name="T182" fmla="*/ 594 w 594"/>
                <a:gd name="T183" fmla="*/ 534 h 53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4" h="534">
                  <a:moveTo>
                    <a:pt x="286" y="506"/>
                  </a:moveTo>
                  <a:lnTo>
                    <a:pt x="281" y="501"/>
                  </a:lnTo>
                  <a:lnTo>
                    <a:pt x="281" y="490"/>
                  </a:lnTo>
                  <a:lnTo>
                    <a:pt x="281" y="484"/>
                  </a:lnTo>
                  <a:lnTo>
                    <a:pt x="270" y="468"/>
                  </a:lnTo>
                  <a:lnTo>
                    <a:pt x="275" y="462"/>
                  </a:lnTo>
                  <a:lnTo>
                    <a:pt x="270" y="462"/>
                  </a:lnTo>
                  <a:lnTo>
                    <a:pt x="270" y="457"/>
                  </a:lnTo>
                  <a:lnTo>
                    <a:pt x="259" y="440"/>
                  </a:lnTo>
                  <a:lnTo>
                    <a:pt x="253" y="440"/>
                  </a:lnTo>
                  <a:lnTo>
                    <a:pt x="253" y="435"/>
                  </a:lnTo>
                  <a:lnTo>
                    <a:pt x="248" y="429"/>
                  </a:lnTo>
                  <a:lnTo>
                    <a:pt x="242" y="435"/>
                  </a:lnTo>
                  <a:lnTo>
                    <a:pt x="242" y="429"/>
                  </a:lnTo>
                  <a:lnTo>
                    <a:pt x="264" y="413"/>
                  </a:lnTo>
                  <a:lnTo>
                    <a:pt x="264" y="402"/>
                  </a:lnTo>
                  <a:lnTo>
                    <a:pt x="259" y="391"/>
                  </a:lnTo>
                  <a:lnTo>
                    <a:pt x="253" y="391"/>
                  </a:lnTo>
                  <a:lnTo>
                    <a:pt x="248" y="385"/>
                  </a:lnTo>
                  <a:lnTo>
                    <a:pt x="248" y="380"/>
                  </a:lnTo>
                  <a:lnTo>
                    <a:pt x="248" y="374"/>
                  </a:lnTo>
                  <a:lnTo>
                    <a:pt x="242" y="363"/>
                  </a:lnTo>
                  <a:lnTo>
                    <a:pt x="242" y="358"/>
                  </a:lnTo>
                  <a:lnTo>
                    <a:pt x="242" y="352"/>
                  </a:lnTo>
                  <a:lnTo>
                    <a:pt x="242" y="341"/>
                  </a:lnTo>
                  <a:lnTo>
                    <a:pt x="242" y="330"/>
                  </a:lnTo>
                  <a:lnTo>
                    <a:pt x="242" y="325"/>
                  </a:lnTo>
                  <a:lnTo>
                    <a:pt x="242" y="319"/>
                  </a:lnTo>
                  <a:lnTo>
                    <a:pt x="242" y="314"/>
                  </a:lnTo>
                  <a:lnTo>
                    <a:pt x="253" y="308"/>
                  </a:lnTo>
                  <a:lnTo>
                    <a:pt x="248" y="297"/>
                  </a:lnTo>
                  <a:lnTo>
                    <a:pt x="253" y="292"/>
                  </a:lnTo>
                  <a:lnTo>
                    <a:pt x="259" y="286"/>
                  </a:lnTo>
                  <a:lnTo>
                    <a:pt x="259" y="281"/>
                  </a:lnTo>
                  <a:lnTo>
                    <a:pt x="259" y="275"/>
                  </a:lnTo>
                  <a:lnTo>
                    <a:pt x="253" y="270"/>
                  </a:lnTo>
                  <a:lnTo>
                    <a:pt x="242" y="270"/>
                  </a:lnTo>
                  <a:lnTo>
                    <a:pt x="237" y="275"/>
                  </a:lnTo>
                  <a:lnTo>
                    <a:pt x="231" y="275"/>
                  </a:lnTo>
                  <a:lnTo>
                    <a:pt x="209" y="275"/>
                  </a:lnTo>
                  <a:lnTo>
                    <a:pt x="209" y="281"/>
                  </a:lnTo>
                  <a:lnTo>
                    <a:pt x="187" y="275"/>
                  </a:lnTo>
                  <a:lnTo>
                    <a:pt x="182" y="281"/>
                  </a:lnTo>
                  <a:lnTo>
                    <a:pt x="176" y="275"/>
                  </a:lnTo>
                  <a:lnTo>
                    <a:pt x="171" y="281"/>
                  </a:lnTo>
                  <a:lnTo>
                    <a:pt x="143" y="237"/>
                  </a:lnTo>
                  <a:lnTo>
                    <a:pt x="132" y="242"/>
                  </a:lnTo>
                  <a:lnTo>
                    <a:pt x="127" y="237"/>
                  </a:lnTo>
                  <a:lnTo>
                    <a:pt x="121" y="237"/>
                  </a:lnTo>
                  <a:lnTo>
                    <a:pt x="116" y="237"/>
                  </a:lnTo>
                  <a:lnTo>
                    <a:pt x="110" y="237"/>
                  </a:lnTo>
                  <a:lnTo>
                    <a:pt x="105" y="237"/>
                  </a:lnTo>
                  <a:lnTo>
                    <a:pt x="99" y="237"/>
                  </a:lnTo>
                  <a:lnTo>
                    <a:pt x="94" y="242"/>
                  </a:lnTo>
                  <a:lnTo>
                    <a:pt x="94" y="237"/>
                  </a:lnTo>
                  <a:lnTo>
                    <a:pt x="83" y="237"/>
                  </a:lnTo>
                  <a:lnTo>
                    <a:pt x="77" y="237"/>
                  </a:lnTo>
                  <a:lnTo>
                    <a:pt x="72" y="237"/>
                  </a:lnTo>
                  <a:lnTo>
                    <a:pt x="66" y="237"/>
                  </a:lnTo>
                  <a:lnTo>
                    <a:pt x="61" y="237"/>
                  </a:lnTo>
                  <a:lnTo>
                    <a:pt x="55" y="231"/>
                  </a:lnTo>
                  <a:lnTo>
                    <a:pt x="50" y="220"/>
                  </a:lnTo>
                  <a:lnTo>
                    <a:pt x="44" y="220"/>
                  </a:lnTo>
                  <a:lnTo>
                    <a:pt x="39" y="215"/>
                  </a:lnTo>
                  <a:lnTo>
                    <a:pt x="39" y="198"/>
                  </a:lnTo>
                  <a:lnTo>
                    <a:pt x="39" y="193"/>
                  </a:lnTo>
                  <a:lnTo>
                    <a:pt x="44" y="193"/>
                  </a:lnTo>
                  <a:lnTo>
                    <a:pt x="44" y="187"/>
                  </a:lnTo>
                  <a:lnTo>
                    <a:pt x="44" y="182"/>
                  </a:lnTo>
                  <a:lnTo>
                    <a:pt x="44" y="176"/>
                  </a:lnTo>
                  <a:lnTo>
                    <a:pt x="33" y="165"/>
                  </a:lnTo>
                  <a:lnTo>
                    <a:pt x="28" y="143"/>
                  </a:lnTo>
                  <a:lnTo>
                    <a:pt x="28" y="138"/>
                  </a:lnTo>
                  <a:lnTo>
                    <a:pt x="22" y="143"/>
                  </a:lnTo>
                  <a:lnTo>
                    <a:pt x="17" y="138"/>
                  </a:lnTo>
                  <a:lnTo>
                    <a:pt x="22" y="138"/>
                  </a:lnTo>
                  <a:lnTo>
                    <a:pt x="17" y="132"/>
                  </a:lnTo>
                  <a:lnTo>
                    <a:pt x="6" y="138"/>
                  </a:lnTo>
                  <a:lnTo>
                    <a:pt x="0" y="138"/>
                  </a:lnTo>
                  <a:lnTo>
                    <a:pt x="17" y="110"/>
                  </a:lnTo>
                  <a:lnTo>
                    <a:pt x="17" y="99"/>
                  </a:lnTo>
                  <a:lnTo>
                    <a:pt x="22" y="94"/>
                  </a:lnTo>
                  <a:lnTo>
                    <a:pt x="22" y="77"/>
                  </a:lnTo>
                  <a:lnTo>
                    <a:pt x="33" y="61"/>
                  </a:lnTo>
                  <a:lnTo>
                    <a:pt x="33" y="55"/>
                  </a:lnTo>
                  <a:lnTo>
                    <a:pt x="39" y="50"/>
                  </a:lnTo>
                  <a:lnTo>
                    <a:pt x="50" y="44"/>
                  </a:lnTo>
                  <a:lnTo>
                    <a:pt x="61" y="22"/>
                  </a:lnTo>
                  <a:lnTo>
                    <a:pt x="72" y="22"/>
                  </a:lnTo>
                  <a:lnTo>
                    <a:pt x="88" y="17"/>
                  </a:lnTo>
                  <a:lnTo>
                    <a:pt x="61" y="28"/>
                  </a:lnTo>
                  <a:lnTo>
                    <a:pt x="61" y="33"/>
                  </a:lnTo>
                  <a:lnTo>
                    <a:pt x="66" y="44"/>
                  </a:lnTo>
                  <a:lnTo>
                    <a:pt x="72" y="50"/>
                  </a:lnTo>
                  <a:lnTo>
                    <a:pt x="77" y="55"/>
                  </a:lnTo>
                  <a:lnTo>
                    <a:pt x="72" y="55"/>
                  </a:lnTo>
                  <a:lnTo>
                    <a:pt x="77" y="66"/>
                  </a:lnTo>
                  <a:lnTo>
                    <a:pt x="77" y="77"/>
                  </a:lnTo>
                  <a:lnTo>
                    <a:pt x="72" y="83"/>
                  </a:lnTo>
                  <a:lnTo>
                    <a:pt x="66" y="88"/>
                  </a:lnTo>
                  <a:lnTo>
                    <a:pt x="61" y="94"/>
                  </a:lnTo>
                  <a:lnTo>
                    <a:pt x="55" y="110"/>
                  </a:lnTo>
                  <a:lnTo>
                    <a:pt x="61" y="121"/>
                  </a:lnTo>
                  <a:lnTo>
                    <a:pt x="61" y="127"/>
                  </a:lnTo>
                  <a:lnTo>
                    <a:pt x="61" y="121"/>
                  </a:lnTo>
                  <a:lnTo>
                    <a:pt x="66" y="127"/>
                  </a:lnTo>
                  <a:lnTo>
                    <a:pt x="66" y="121"/>
                  </a:lnTo>
                  <a:lnTo>
                    <a:pt x="66" y="127"/>
                  </a:lnTo>
                  <a:lnTo>
                    <a:pt x="72" y="127"/>
                  </a:lnTo>
                  <a:lnTo>
                    <a:pt x="72" y="132"/>
                  </a:lnTo>
                  <a:lnTo>
                    <a:pt x="66" y="138"/>
                  </a:lnTo>
                  <a:lnTo>
                    <a:pt x="72" y="138"/>
                  </a:lnTo>
                  <a:lnTo>
                    <a:pt x="72" y="143"/>
                  </a:lnTo>
                  <a:lnTo>
                    <a:pt x="83" y="143"/>
                  </a:lnTo>
                  <a:lnTo>
                    <a:pt x="88" y="143"/>
                  </a:lnTo>
                  <a:lnTo>
                    <a:pt x="99" y="132"/>
                  </a:lnTo>
                  <a:lnTo>
                    <a:pt x="99" y="121"/>
                  </a:lnTo>
                  <a:lnTo>
                    <a:pt x="99" y="116"/>
                  </a:lnTo>
                  <a:lnTo>
                    <a:pt x="105" y="116"/>
                  </a:lnTo>
                  <a:lnTo>
                    <a:pt x="99" y="110"/>
                  </a:lnTo>
                  <a:lnTo>
                    <a:pt x="99" y="105"/>
                  </a:lnTo>
                  <a:lnTo>
                    <a:pt x="94" y="99"/>
                  </a:lnTo>
                  <a:lnTo>
                    <a:pt x="94" y="94"/>
                  </a:lnTo>
                  <a:lnTo>
                    <a:pt x="88" y="88"/>
                  </a:lnTo>
                  <a:lnTo>
                    <a:pt x="83" y="83"/>
                  </a:lnTo>
                  <a:lnTo>
                    <a:pt x="83" y="77"/>
                  </a:lnTo>
                  <a:lnTo>
                    <a:pt x="77" y="72"/>
                  </a:lnTo>
                  <a:lnTo>
                    <a:pt x="83" y="72"/>
                  </a:lnTo>
                  <a:lnTo>
                    <a:pt x="83" y="66"/>
                  </a:lnTo>
                  <a:lnTo>
                    <a:pt x="77" y="61"/>
                  </a:lnTo>
                  <a:lnTo>
                    <a:pt x="83" y="61"/>
                  </a:lnTo>
                  <a:lnTo>
                    <a:pt x="83" y="55"/>
                  </a:lnTo>
                  <a:lnTo>
                    <a:pt x="94" y="55"/>
                  </a:lnTo>
                  <a:lnTo>
                    <a:pt x="110" y="44"/>
                  </a:lnTo>
                  <a:lnTo>
                    <a:pt x="127" y="44"/>
                  </a:lnTo>
                  <a:lnTo>
                    <a:pt x="127" y="39"/>
                  </a:lnTo>
                  <a:lnTo>
                    <a:pt x="138" y="39"/>
                  </a:lnTo>
                  <a:lnTo>
                    <a:pt x="143" y="33"/>
                  </a:lnTo>
                  <a:lnTo>
                    <a:pt x="138" y="33"/>
                  </a:lnTo>
                  <a:lnTo>
                    <a:pt x="149" y="33"/>
                  </a:lnTo>
                  <a:lnTo>
                    <a:pt x="143" y="33"/>
                  </a:lnTo>
                  <a:lnTo>
                    <a:pt x="149" y="33"/>
                  </a:lnTo>
                  <a:lnTo>
                    <a:pt x="143" y="28"/>
                  </a:lnTo>
                  <a:lnTo>
                    <a:pt x="149" y="28"/>
                  </a:lnTo>
                  <a:lnTo>
                    <a:pt x="149" y="33"/>
                  </a:lnTo>
                  <a:lnTo>
                    <a:pt x="154" y="33"/>
                  </a:lnTo>
                  <a:lnTo>
                    <a:pt x="160" y="28"/>
                  </a:lnTo>
                  <a:lnTo>
                    <a:pt x="154" y="22"/>
                  </a:lnTo>
                  <a:lnTo>
                    <a:pt x="138" y="28"/>
                  </a:lnTo>
                  <a:lnTo>
                    <a:pt x="138" y="17"/>
                  </a:lnTo>
                  <a:lnTo>
                    <a:pt x="138" y="22"/>
                  </a:lnTo>
                  <a:lnTo>
                    <a:pt x="138" y="17"/>
                  </a:lnTo>
                  <a:lnTo>
                    <a:pt x="132" y="17"/>
                  </a:lnTo>
                  <a:lnTo>
                    <a:pt x="138" y="0"/>
                  </a:lnTo>
                  <a:lnTo>
                    <a:pt x="143" y="0"/>
                  </a:lnTo>
                  <a:lnTo>
                    <a:pt x="149" y="0"/>
                  </a:lnTo>
                  <a:lnTo>
                    <a:pt x="154" y="6"/>
                  </a:lnTo>
                  <a:lnTo>
                    <a:pt x="154" y="17"/>
                  </a:lnTo>
                  <a:lnTo>
                    <a:pt x="160" y="22"/>
                  </a:lnTo>
                  <a:lnTo>
                    <a:pt x="165" y="33"/>
                  </a:lnTo>
                  <a:lnTo>
                    <a:pt x="171" y="28"/>
                  </a:lnTo>
                  <a:lnTo>
                    <a:pt x="176" y="33"/>
                  </a:lnTo>
                  <a:lnTo>
                    <a:pt x="176" y="28"/>
                  </a:lnTo>
                  <a:lnTo>
                    <a:pt x="187" y="33"/>
                  </a:lnTo>
                  <a:lnTo>
                    <a:pt x="198" y="33"/>
                  </a:lnTo>
                  <a:lnTo>
                    <a:pt x="215" y="44"/>
                  </a:lnTo>
                  <a:lnTo>
                    <a:pt x="220" y="44"/>
                  </a:lnTo>
                  <a:lnTo>
                    <a:pt x="215" y="44"/>
                  </a:lnTo>
                  <a:lnTo>
                    <a:pt x="226" y="55"/>
                  </a:lnTo>
                  <a:lnTo>
                    <a:pt x="220" y="55"/>
                  </a:lnTo>
                  <a:lnTo>
                    <a:pt x="226" y="61"/>
                  </a:lnTo>
                  <a:lnTo>
                    <a:pt x="220" y="61"/>
                  </a:lnTo>
                  <a:lnTo>
                    <a:pt x="220" y="66"/>
                  </a:lnTo>
                  <a:lnTo>
                    <a:pt x="226" y="77"/>
                  </a:lnTo>
                  <a:lnTo>
                    <a:pt x="242" y="77"/>
                  </a:lnTo>
                  <a:lnTo>
                    <a:pt x="248" y="77"/>
                  </a:lnTo>
                  <a:lnTo>
                    <a:pt x="253" y="77"/>
                  </a:lnTo>
                  <a:lnTo>
                    <a:pt x="270" y="77"/>
                  </a:lnTo>
                  <a:lnTo>
                    <a:pt x="275" y="72"/>
                  </a:lnTo>
                  <a:lnTo>
                    <a:pt x="303" y="72"/>
                  </a:lnTo>
                  <a:lnTo>
                    <a:pt x="308" y="72"/>
                  </a:lnTo>
                  <a:lnTo>
                    <a:pt x="314" y="72"/>
                  </a:lnTo>
                  <a:lnTo>
                    <a:pt x="319" y="72"/>
                  </a:lnTo>
                  <a:lnTo>
                    <a:pt x="319" y="77"/>
                  </a:lnTo>
                  <a:lnTo>
                    <a:pt x="319" y="83"/>
                  </a:lnTo>
                  <a:lnTo>
                    <a:pt x="325" y="88"/>
                  </a:lnTo>
                  <a:lnTo>
                    <a:pt x="336" y="88"/>
                  </a:lnTo>
                  <a:lnTo>
                    <a:pt x="330" y="88"/>
                  </a:lnTo>
                  <a:lnTo>
                    <a:pt x="347" y="94"/>
                  </a:lnTo>
                  <a:lnTo>
                    <a:pt x="358" y="94"/>
                  </a:lnTo>
                  <a:lnTo>
                    <a:pt x="363" y="99"/>
                  </a:lnTo>
                  <a:lnTo>
                    <a:pt x="369" y="94"/>
                  </a:lnTo>
                  <a:lnTo>
                    <a:pt x="374" y="94"/>
                  </a:lnTo>
                  <a:lnTo>
                    <a:pt x="380" y="88"/>
                  </a:lnTo>
                  <a:lnTo>
                    <a:pt x="380" y="94"/>
                  </a:lnTo>
                  <a:lnTo>
                    <a:pt x="380" y="88"/>
                  </a:lnTo>
                  <a:lnTo>
                    <a:pt x="385" y="88"/>
                  </a:lnTo>
                  <a:lnTo>
                    <a:pt x="391" y="88"/>
                  </a:lnTo>
                  <a:lnTo>
                    <a:pt x="391" y="83"/>
                  </a:lnTo>
                  <a:lnTo>
                    <a:pt x="396" y="83"/>
                  </a:lnTo>
                  <a:lnTo>
                    <a:pt x="402" y="77"/>
                  </a:lnTo>
                  <a:lnTo>
                    <a:pt x="407" y="83"/>
                  </a:lnTo>
                  <a:lnTo>
                    <a:pt x="413" y="77"/>
                  </a:lnTo>
                  <a:lnTo>
                    <a:pt x="418" y="83"/>
                  </a:lnTo>
                  <a:lnTo>
                    <a:pt x="424" y="77"/>
                  </a:lnTo>
                  <a:lnTo>
                    <a:pt x="418" y="77"/>
                  </a:lnTo>
                  <a:lnTo>
                    <a:pt x="413" y="77"/>
                  </a:lnTo>
                  <a:lnTo>
                    <a:pt x="407" y="72"/>
                  </a:lnTo>
                  <a:lnTo>
                    <a:pt x="402" y="72"/>
                  </a:lnTo>
                  <a:lnTo>
                    <a:pt x="396" y="77"/>
                  </a:lnTo>
                  <a:lnTo>
                    <a:pt x="396" y="72"/>
                  </a:lnTo>
                  <a:lnTo>
                    <a:pt x="396" y="66"/>
                  </a:lnTo>
                  <a:lnTo>
                    <a:pt x="396" y="72"/>
                  </a:lnTo>
                  <a:lnTo>
                    <a:pt x="402" y="72"/>
                  </a:lnTo>
                  <a:lnTo>
                    <a:pt x="407" y="72"/>
                  </a:lnTo>
                  <a:lnTo>
                    <a:pt x="413" y="72"/>
                  </a:lnTo>
                  <a:lnTo>
                    <a:pt x="418" y="66"/>
                  </a:lnTo>
                  <a:lnTo>
                    <a:pt x="429" y="72"/>
                  </a:lnTo>
                  <a:lnTo>
                    <a:pt x="435" y="66"/>
                  </a:lnTo>
                  <a:lnTo>
                    <a:pt x="440" y="66"/>
                  </a:lnTo>
                  <a:lnTo>
                    <a:pt x="446" y="66"/>
                  </a:lnTo>
                  <a:lnTo>
                    <a:pt x="457" y="66"/>
                  </a:lnTo>
                  <a:lnTo>
                    <a:pt x="462" y="66"/>
                  </a:lnTo>
                  <a:lnTo>
                    <a:pt x="468" y="66"/>
                  </a:lnTo>
                  <a:lnTo>
                    <a:pt x="490" y="66"/>
                  </a:lnTo>
                  <a:lnTo>
                    <a:pt x="495" y="66"/>
                  </a:lnTo>
                  <a:lnTo>
                    <a:pt x="501" y="66"/>
                  </a:lnTo>
                  <a:lnTo>
                    <a:pt x="495" y="72"/>
                  </a:lnTo>
                  <a:lnTo>
                    <a:pt x="484" y="72"/>
                  </a:lnTo>
                  <a:lnTo>
                    <a:pt x="479" y="77"/>
                  </a:lnTo>
                  <a:lnTo>
                    <a:pt x="468" y="72"/>
                  </a:lnTo>
                  <a:lnTo>
                    <a:pt x="457" y="77"/>
                  </a:lnTo>
                  <a:lnTo>
                    <a:pt x="451" y="77"/>
                  </a:lnTo>
                  <a:lnTo>
                    <a:pt x="457" y="77"/>
                  </a:lnTo>
                  <a:lnTo>
                    <a:pt x="462" y="83"/>
                  </a:lnTo>
                  <a:lnTo>
                    <a:pt x="451" y="83"/>
                  </a:lnTo>
                  <a:lnTo>
                    <a:pt x="457" y="83"/>
                  </a:lnTo>
                  <a:lnTo>
                    <a:pt x="451" y="88"/>
                  </a:lnTo>
                  <a:lnTo>
                    <a:pt x="457" y="88"/>
                  </a:lnTo>
                  <a:lnTo>
                    <a:pt x="457" y="83"/>
                  </a:lnTo>
                  <a:lnTo>
                    <a:pt x="462" y="83"/>
                  </a:lnTo>
                  <a:lnTo>
                    <a:pt x="468" y="94"/>
                  </a:lnTo>
                  <a:lnTo>
                    <a:pt x="468" y="99"/>
                  </a:lnTo>
                  <a:lnTo>
                    <a:pt x="462" y="94"/>
                  </a:lnTo>
                  <a:lnTo>
                    <a:pt x="462" y="99"/>
                  </a:lnTo>
                  <a:lnTo>
                    <a:pt x="457" y="94"/>
                  </a:lnTo>
                  <a:lnTo>
                    <a:pt x="451" y="94"/>
                  </a:lnTo>
                  <a:lnTo>
                    <a:pt x="457" y="94"/>
                  </a:lnTo>
                  <a:lnTo>
                    <a:pt x="457" y="99"/>
                  </a:lnTo>
                  <a:lnTo>
                    <a:pt x="457" y="94"/>
                  </a:lnTo>
                  <a:lnTo>
                    <a:pt x="457" y="99"/>
                  </a:lnTo>
                  <a:lnTo>
                    <a:pt x="462" y="99"/>
                  </a:lnTo>
                  <a:lnTo>
                    <a:pt x="468" y="99"/>
                  </a:lnTo>
                  <a:lnTo>
                    <a:pt x="468" y="94"/>
                  </a:lnTo>
                  <a:lnTo>
                    <a:pt x="468" y="88"/>
                  </a:lnTo>
                  <a:lnTo>
                    <a:pt x="473" y="94"/>
                  </a:lnTo>
                  <a:lnTo>
                    <a:pt x="479" y="105"/>
                  </a:lnTo>
                  <a:lnTo>
                    <a:pt x="484" y="116"/>
                  </a:lnTo>
                  <a:lnTo>
                    <a:pt x="484" y="105"/>
                  </a:lnTo>
                  <a:lnTo>
                    <a:pt x="490" y="116"/>
                  </a:lnTo>
                  <a:lnTo>
                    <a:pt x="484" y="116"/>
                  </a:lnTo>
                  <a:lnTo>
                    <a:pt x="490" y="116"/>
                  </a:lnTo>
                  <a:lnTo>
                    <a:pt x="490" y="105"/>
                  </a:lnTo>
                  <a:lnTo>
                    <a:pt x="495" y="105"/>
                  </a:lnTo>
                  <a:lnTo>
                    <a:pt x="490" y="105"/>
                  </a:lnTo>
                  <a:lnTo>
                    <a:pt x="484" y="105"/>
                  </a:lnTo>
                  <a:lnTo>
                    <a:pt x="490" y="99"/>
                  </a:lnTo>
                  <a:lnTo>
                    <a:pt x="495" y="105"/>
                  </a:lnTo>
                  <a:lnTo>
                    <a:pt x="501" y="110"/>
                  </a:lnTo>
                  <a:lnTo>
                    <a:pt x="501" y="116"/>
                  </a:lnTo>
                  <a:lnTo>
                    <a:pt x="506" y="110"/>
                  </a:lnTo>
                  <a:lnTo>
                    <a:pt x="506" y="121"/>
                  </a:lnTo>
                  <a:lnTo>
                    <a:pt x="506" y="116"/>
                  </a:lnTo>
                  <a:lnTo>
                    <a:pt x="506" y="110"/>
                  </a:lnTo>
                  <a:lnTo>
                    <a:pt x="512" y="110"/>
                  </a:lnTo>
                  <a:lnTo>
                    <a:pt x="512" y="105"/>
                  </a:lnTo>
                  <a:lnTo>
                    <a:pt x="517" y="110"/>
                  </a:lnTo>
                  <a:lnTo>
                    <a:pt x="523" y="116"/>
                  </a:lnTo>
                  <a:lnTo>
                    <a:pt x="528" y="121"/>
                  </a:lnTo>
                  <a:lnTo>
                    <a:pt x="539" y="121"/>
                  </a:lnTo>
                  <a:lnTo>
                    <a:pt x="545" y="121"/>
                  </a:lnTo>
                  <a:lnTo>
                    <a:pt x="550" y="127"/>
                  </a:lnTo>
                  <a:lnTo>
                    <a:pt x="550" y="132"/>
                  </a:lnTo>
                  <a:lnTo>
                    <a:pt x="545" y="138"/>
                  </a:lnTo>
                  <a:lnTo>
                    <a:pt x="534" y="143"/>
                  </a:lnTo>
                  <a:lnTo>
                    <a:pt x="539" y="138"/>
                  </a:lnTo>
                  <a:lnTo>
                    <a:pt x="539" y="143"/>
                  </a:lnTo>
                  <a:lnTo>
                    <a:pt x="534" y="149"/>
                  </a:lnTo>
                  <a:lnTo>
                    <a:pt x="534" y="154"/>
                  </a:lnTo>
                  <a:lnTo>
                    <a:pt x="528" y="165"/>
                  </a:lnTo>
                  <a:lnTo>
                    <a:pt x="523" y="165"/>
                  </a:lnTo>
                  <a:lnTo>
                    <a:pt x="517" y="165"/>
                  </a:lnTo>
                  <a:lnTo>
                    <a:pt x="512" y="165"/>
                  </a:lnTo>
                  <a:lnTo>
                    <a:pt x="523" y="171"/>
                  </a:lnTo>
                  <a:lnTo>
                    <a:pt x="528" y="176"/>
                  </a:lnTo>
                  <a:lnTo>
                    <a:pt x="534" y="171"/>
                  </a:lnTo>
                  <a:lnTo>
                    <a:pt x="539" y="171"/>
                  </a:lnTo>
                  <a:lnTo>
                    <a:pt x="534" y="171"/>
                  </a:lnTo>
                  <a:lnTo>
                    <a:pt x="539" y="176"/>
                  </a:lnTo>
                  <a:lnTo>
                    <a:pt x="539" y="165"/>
                  </a:lnTo>
                  <a:lnTo>
                    <a:pt x="556" y="165"/>
                  </a:lnTo>
                  <a:lnTo>
                    <a:pt x="561" y="165"/>
                  </a:lnTo>
                  <a:lnTo>
                    <a:pt x="567" y="165"/>
                  </a:lnTo>
                  <a:lnTo>
                    <a:pt x="572" y="165"/>
                  </a:lnTo>
                  <a:lnTo>
                    <a:pt x="583" y="165"/>
                  </a:lnTo>
                  <a:lnTo>
                    <a:pt x="589" y="176"/>
                  </a:lnTo>
                  <a:lnTo>
                    <a:pt x="594" y="182"/>
                  </a:lnTo>
                  <a:lnTo>
                    <a:pt x="589" y="182"/>
                  </a:lnTo>
                  <a:lnTo>
                    <a:pt x="583" y="182"/>
                  </a:lnTo>
                  <a:lnTo>
                    <a:pt x="583" y="193"/>
                  </a:lnTo>
                  <a:lnTo>
                    <a:pt x="578" y="193"/>
                  </a:lnTo>
                  <a:lnTo>
                    <a:pt x="572" y="193"/>
                  </a:lnTo>
                  <a:lnTo>
                    <a:pt x="567" y="198"/>
                  </a:lnTo>
                  <a:lnTo>
                    <a:pt x="561" y="198"/>
                  </a:lnTo>
                  <a:lnTo>
                    <a:pt x="556" y="204"/>
                  </a:lnTo>
                  <a:lnTo>
                    <a:pt x="556" y="209"/>
                  </a:lnTo>
                  <a:lnTo>
                    <a:pt x="556" y="215"/>
                  </a:lnTo>
                  <a:lnTo>
                    <a:pt x="550" y="215"/>
                  </a:lnTo>
                  <a:lnTo>
                    <a:pt x="556" y="220"/>
                  </a:lnTo>
                  <a:lnTo>
                    <a:pt x="556" y="226"/>
                  </a:lnTo>
                  <a:lnTo>
                    <a:pt x="556" y="231"/>
                  </a:lnTo>
                  <a:lnTo>
                    <a:pt x="561" y="231"/>
                  </a:lnTo>
                  <a:lnTo>
                    <a:pt x="567" y="231"/>
                  </a:lnTo>
                  <a:lnTo>
                    <a:pt x="572" y="231"/>
                  </a:lnTo>
                  <a:lnTo>
                    <a:pt x="572" y="237"/>
                  </a:lnTo>
                  <a:lnTo>
                    <a:pt x="567" y="242"/>
                  </a:lnTo>
                  <a:lnTo>
                    <a:pt x="561" y="248"/>
                  </a:lnTo>
                  <a:lnTo>
                    <a:pt x="556" y="248"/>
                  </a:lnTo>
                  <a:lnTo>
                    <a:pt x="550" y="248"/>
                  </a:lnTo>
                  <a:lnTo>
                    <a:pt x="545" y="248"/>
                  </a:lnTo>
                  <a:lnTo>
                    <a:pt x="545" y="253"/>
                  </a:lnTo>
                  <a:lnTo>
                    <a:pt x="534" y="253"/>
                  </a:lnTo>
                  <a:lnTo>
                    <a:pt x="528" y="259"/>
                  </a:lnTo>
                  <a:lnTo>
                    <a:pt x="534" y="264"/>
                  </a:lnTo>
                  <a:lnTo>
                    <a:pt x="534" y="275"/>
                  </a:lnTo>
                  <a:lnTo>
                    <a:pt x="528" y="281"/>
                  </a:lnTo>
                  <a:lnTo>
                    <a:pt x="523" y="286"/>
                  </a:lnTo>
                  <a:lnTo>
                    <a:pt x="550" y="325"/>
                  </a:lnTo>
                  <a:lnTo>
                    <a:pt x="556" y="325"/>
                  </a:lnTo>
                  <a:lnTo>
                    <a:pt x="556" y="330"/>
                  </a:lnTo>
                  <a:lnTo>
                    <a:pt x="556" y="341"/>
                  </a:lnTo>
                  <a:lnTo>
                    <a:pt x="550" y="341"/>
                  </a:lnTo>
                  <a:lnTo>
                    <a:pt x="545" y="341"/>
                  </a:lnTo>
                  <a:lnTo>
                    <a:pt x="539" y="352"/>
                  </a:lnTo>
                  <a:lnTo>
                    <a:pt x="534" y="352"/>
                  </a:lnTo>
                  <a:lnTo>
                    <a:pt x="528" y="352"/>
                  </a:lnTo>
                  <a:lnTo>
                    <a:pt x="528" y="358"/>
                  </a:lnTo>
                  <a:lnTo>
                    <a:pt x="523" y="358"/>
                  </a:lnTo>
                  <a:lnTo>
                    <a:pt x="517" y="358"/>
                  </a:lnTo>
                  <a:lnTo>
                    <a:pt x="517" y="363"/>
                  </a:lnTo>
                  <a:lnTo>
                    <a:pt x="506" y="363"/>
                  </a:lnTo>
                  <a:lnTo>
                    <a:pt x="501" y="369"/>
                  </a:lnTo>
                  <a:lnTo>
                    <a:pt x="495" y="369"/>
                  </a:lnTo>
                  <a:lnTo>
                    <a:pt x="490" y="374"/>
                  </a:lnTo>
                  <a:lnTo>
                    <a:pt x="479" y="369"/>
                  </a:lnTo>
                  <a:lnTo>
                    <a:pt x="473" y="374"/>
                  </a:lnTo>
                  <a:lnTo>
                    <a:pt x="468" y="374"/>
                  </a:lnTo>
                  <a:lnTo>
                    <a:pt x="462" y="374"/>
                  </a:lnTo>
                  <a:lnTo>
                    <a:pt x="462" y="380"/>
                  </a:lnTo>
                  <a:lnTo>
                    <a:pt x="462" y="385"/>
                  </a:lnTo>
                  <a:lnTo>
                    <a:pt x="462" y="391"/>
                  </a:lnTo>
                  <a:lnTo>
                    <a:pt x="462" y="396"/>
                  </a:lnTo>
                  <a:lnTo>
                    <a:pt x="457" y="396"/>
                  </a:lnTo>
                  <a:lnTo>
                    <a:pt x="451" y="396"/>
                  </a:lnTo>
                  <a:lnTo>
                    <a:pt x="440" y="380"/>
                  </a:lnTo>
                  <a:lnTo>
                    <a:pt x="435" y="380"/>
                  </a:lnTo>
                  <a:lnTo>
                    <a:pt x="435" y="385"/>
                  </a:lnTo>
                  <a:lnTo>
                    <a:pt x="429" y="385"/>
                  </a:lnTo>
                  <a:lnTo>
                    <a:pt x="424" y="380"/>
                  </a:lnTo>
                  <a:lnTo>
                    <a:pt x="418" y="380"/>
                  </a:lnTo>
                  <a:lnTo>
                    <a:pt x="407" y="385"/>
                  </a:lnTo>
                  <a:lnTo>
                    <a:pt x="402" y="374"/>
                  </a:lnTo>
                  <a:lnTo>
                    <a:pt x="396" y="369"/>
                  </a:lnTo>
                  <a:lnTo>
                    <a:pt x="385" y="374"/>
                  </a:lnTo>
                  <a:lnTo>
                    <a:pt x="380" y="363"/>
                  </a:lnTo>
                  <a:lnTo>
                    <a:pt x="374" y="363"/>
                  </a:lnTo>
                  <a:lnTo>
                    <a:pt x="374" y="369"/>
                  </a:lnTo>
                  <a:lnTo>
                    <a:pt x="380" y="369"/>
                  </a:lnTo>
                  <a:lnTo>
                    <a:pt x="380" y="374"/>
                  </a:lnTo>
                  <a:lnTo>
                    <a:pt x="391" y="385"/>
                  </a:lnTo>
                  <a:lnTo>
                    <a:pt x="396" y="391"/>
                  </a:lnTo>
                  <a:lnTo>
                    <a:pt x="402" y="396"/>
                  </a:lnTo>
                  <a:lnTo>
                    <a:pt x="402" y="402"/>
                  </a:lnTo>
                  <a:lnTo>
                    <a:pt x="396" y="402"/>
                  </a:lnTo>
                  <a:lnTo>
                    <a:pt x="402" y="418"/>
                  </a:lnTo>
                  <a:lnTo>
                    <a:pt x="407" y="435"/>
                  </a:lnTo>
                  <a:lnTo>
                    <a:pt x="407" y="446"/>
                  </a:lnTo>
                  <a:lnTo>
                    <a:pt x="418" y="451"/>
                  </a:lnTo>
                  <a:lnTo>
                    <a:pt x="424" y="451"/>
                  </a:lnTo>
                  <a:lnTo>
                    <a:pt x="435" y="451"/>
                  </a:lnTo>
                  <a:lnTo>
                    <a:pt x="440" y="451"/>
                  </a:lnTo>
                  <a:lnTo>
                    <a:pt x="435" y="451"/>
                  </a:lnTo>
                  <a:lnTo>
                    <a:pt x="440" y="457"/>
                  </a:lnTo>
                  <a:lnTo>
                    <a:pt x="435" y="462"/>
                  </a:lnTo>
                  <a:lnTo>
                    <a:pt x="424" y="462"/>
                  </a:lnTo>
                  <a:lnTo>
                    <a:pt x="418" y="473"/>
                  </a:lnTo>
                  <a:lnTo>
                    <a:pt x="413" y="468"/>
                  </a:lnTo>
                  <a:lnTo>
                    <a:pt x="407" y="473"/>
                  </a:lnTo>
                  <a:lnTo>
                    <a:pt x="407" y="484"/>
                  </a:lnTo>
                  <a:lnTo>
                    <a:pt x="402" y="490"/>
                  </a:lnTo>
                  <a:lnTo>
                    <a:pt x="391" y="501"/>
                  </a:lnTo>
                  <a:lnTo>
                    <a:pt x="391" y="495"/>
                  </a:lnTo>
                  <a:lnTo>
                    <a:pt x="391" y="490"/>
                  </a:lnTo>
                  <a:lnTo>
                    <a:pt x="385" y="495"/>
                  </a:lnTo>
                  <a:lnTo>
                    <a:pt x="385" y="501"/>
                  </a:lnTo>
                  <a:lnTo>
                    <a:pt x="374" y="506"/>
                  </a:lnTo>
                  <a:lnTo>
                    <a:pt x="374" y="501"/>
                  </a:lnTo>
                  <a:lnTo>
                    <a:pt x="363" y="506"/>
                  </a:lnTo>
                  <a:lnTo>
                    <a:pt x="358" y="506"/>
                  </a:lnTo>
                  <a:lnTo>
                    <a:pt x="358" y="517"/>
                  </a:lnTo>
                  <a:lnTo>
                    <a:pt x="352" y="517"/>
                  </a:lnTo>
                  <a:lnTo>
                    <a:pt x="347" y="528"/>
                  </a:lnTo>
                  <a:lnTo>
                    <a:pt x="341" y="534"/>
                  </a:lnTo>
                  <a:lnTo>
                    <a:pt x="341" y="528"/>
                  </a:lnTo>
                  <a:lnTo>
                    <a:pt x="341" y="523"/>
                  </a:lnTo>
                  <a:lnTo>
                    <a:pt x="341" y="517"/>
                  </a:lnTo>
                  <a:lnTo>
                    <a:pt x="336" y="517"/>
                  </a:lnTo>
                  <a:lnTo>
                    <a:pt x="330" y="517"/>
                  </a:lnTo>
                  <a:lnTo>
                    <a:pt x="325" y="523"/>
                  </a:lnTo>
                  <a:lnTo>
                    <a:pt x="319" y="523"/>
                  </a:lnTo>
                  <a:lnTo>
                    <a:pt x="314" y="528"/>
                  </a:lnTo>
                  <a:lnTo>
                    <a:pt x="308" y="528"/>
                  </a:lnTo>
                  <a:lnTo>
                    <a:pt x="286" y="506"/>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sp>
          <p:nvSpPr>
            <p:cNvPr id="217" name="Freeform 13">
              <a:extLst>
                <a:ext uri="{FF2B5EF4-FFF2-40B4-BE49-F238E27FC236}">
                  <a16:creationId xmlns:a16="http://schemas.microsoft.com/office/drawing/2014/main" id="{2FC1DEF9-EA00-4EF2-BDDF-DB47735585E6}"/>
                </a:ext>
              </a:extLst>
            </p:cNvPr>
            <p:cNvSpPr>
              <a:spLocks/>
            </p:cNvSpPr>
            <p:nvPr/>
          </p:nvSpPr>
          <p:spPr bwMode="auto">
            <a:xfrm rot="21367780">
              <a:off x="4045824" y="6736112"/>
              <a:ext cx="66970" cy="10861"/>
            </a:xfrm>
            <a:custGeom>
              <a:avLst/>
              <a:gdLst>
                <a:gd name="T0" fmla="*/ 17 w 39"/>
                <a:gd name="T1" fmla="*/ 0 h 6"/>
                <a:gd name="T2" fmla="*/ 39 w 39"/>
                <a:gd name="T3" fmla="*/ 6 h 6"/>
                <a:gd name="T4" fmla="*/ 17 w 39"/>
                <a:gd name="T5" fmla="*/ 6 h 6"/>
                <a:gd name="T6" fmla="*/ 0 w 39"/>
                <a:gd name="T7" fmla="*/ 6 h 6"/>
                <a:gd name="T8" fmla="*/ 6 w 39"/>
                <a:gd name="T9" fmla="*/ 6 h 6"/>
                <a:gd name="T10" fmla="*/ 17 w 39"/>
                <a:gd name="T11" fmla="*/ 0 h 6"/>
                <a:gd name="T12" fmla="*/ 0 60000 65536"/>
                <a:gd name="T13" fmla="*/ 0 60000 65536"/>
                <a:gd name="T14" fmla="*/ 0 60000 65536"/>
                <a:gd name="T15" fmla="*/ 0 60000 65536"/>
                <a:gd name="T16" fmla="*/ 0 60000 65536"/>
                <a:gd name="T17" fmla="*/ 0 60000 65536"/>
                <a:gd name="T18" fmla="*/ 0 w 39"/>
                <a:gd name="T19" fmla="*/ 0 h 6"/>
                <a:gd name="T20" fmla="*/ 39 w 39"/>
                <a:gd name="T21" fmla="*/ 6 h 6"/>
              </a:gdLst>
              <a:ahLst/>
              <a:cxnLst>
                <a:cxn ang="T12">
                  <a:pos x="T0" y="T1"/>
                </a:cxn>
                <a:cxn ang="T13">
                  <a:pos x="T2" y="T3"/>
                </a:cxn>
                <a:cxn ang="T14">
                  <a:pos x="T4" y="T5"/>
                </a:cxn>
                <a:cxn ang="T15">
                  <a:pos x="T6" y="T7"/>
                </a:cxn>
                <a:cxn ang="T16">
                  <a:pos x="T8" y="T9"/>
                </a:cxn>
                <a:cxn ang="T17">
                  <a:pos x="T10" y="T11"/>
                </a:cxn>
              </a:cxnLst>
              <a:rect l="T18" t="T19" r="T20" b="T21"/>
              <a:pathLst>
                <a:path w="39" h="6">
                  <a:moveTo>
                    <a:pt x="17" y="0"/>
                  </a:moveTo>
                  <a:lnTo>
                    <a:pt x="39" y="6"/>
                  </a:lnTo>
                  <a:lnTo>
                    <a:pt x="17" y="6"/>
                  </a:lnTo>
                  <a:lnTo>
                    <a:pt x="0" y="6"/>
                  </a:lnTo>
                  <a:lnTo>
                    <a:pt x="6" y="6"/>
                  </a:lnTo>
                  <a:lnTo>
                    <a:pt x="17" y="0"/>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sp>
          <p:nvSpPr>
            <p:cNvPr id="218" name="Freeform 14">
              <a:extLst>
                <a:ext uri="{FF2B5EF4-FFF2-40B4-BE49-F238E27FC236}">
                  <a16:creationId xmlns:a16="http://schemas.microsoft.com/office/drawing/2014/main" id="{CC5291A0-25F0-4BE1-8139-4E24B3393711}"/>
                </a:ext>
              </a:extLst>
            </p:cNvPr>
            <p:cNvSpPr>
              <a:spLocks noEditPoints="1"/>
            </p:cNvSpPr>
            <p:nvPr/>
          </p:nvSpPr>
          <p:spPr bwMode="auto">
            <a:xfrm rot="21367780">
              <a:off x="3101883" y="3804090"/>
              <a:ext cx="664267" cy="3048385"/>
            </a:xfrm>
            <a:custGeom>
              <a:avLst/>
              <a:gdLst>
                <a:gd name="T0" fmla="*/ 292 w 380"/>
                <a:gd name="T1" fmla="*/ 60 h 1759"/>
                <a:gd name="T2" fmla="*/ 330 w 380"/>
                <a:gd name="T3" fmla="*/ 197 h 1759"/>
                <a:gd name="T4" fmla="*/ 308 w 380"/>
                <a:gd name="T5" fmla="*/ 362 h 1759"/>
                <a:gd name="T6" fmla="*/ 270 w 380"/>
                <a:gd name="T7" fmla="*/ 494 h 1759"/>
                <a:gd name="T8" fmla="*/ 237 w 380"/>
                <a:gd name="T9" fmla="*/ 604 h 1759"/>
                <a:gd name="T10" fmla="*/ 242 w 380"/>
                <a:gd name="T11" fmla="*/ 703 h 1759"/>
                <a:gd name="T12" fmla="*/ 237 w 380"/>
                <a:gd name="T13" fmla="*/ 797 h 1759"/>
                <a:gd name="T14" fmla="*/ 198 w 380"/>
                <a:gd name="T15" fmla="*/ 885 h 1759"/>
                <a:gd name="T16" fmla="*/ 193 w 380"/>
                <a:gd name="T17" fmla="*/ 984 h 1759"/>
                <a:gd name="T18" fmla="*/ 165 w 380"/>
                <a:gd name="T19" fmla="*/ 1077 h 1759"/>
                <a:gd name="T20" fmla="*/ 171 w 380"/>
                <a:gd name="T21" fmla="*/ 1182 h 1759"/>
                <a:gd name="T22" fmla="*/ 193 w 380"/>
                <a:gd name="T23" fmla="*/ 1259 h 1759"/>
                <a:gd name="T24" fmla="*/ 165 w 380"/>
                <a:gd name="T25" fmla="*/ 1325 h 1759"/>
                <a:gd name="T26" fmla="*/ 143 w 380"/>
                <a:gd name="T27" fmla="*/ 1424 h 1759"/>
                <a:gd name="T28" fmla="*/ 143 w 380"/>
                <a:gd name="T29" fmla="*/ 1528 h 1759"/>
                <a:gd name="T30" fmla="*/ 286 w 380"/>
                <a:gd name="T31" fmla="*/ 1600 h 1759"/>
                <a:gd name="T32" fmla="*/ 204 w 380"/>
                <a:gd name="T33" fmla="*/ 1666 h 1759"/>
                <a:gd name="T34" fmla="*/ 165 w 380"/>
                <a:gd name="T35" fmla="*/ 1660 h 1759"/>
                <a:gd name="T36" fmla="*/ 149 w 380"/>
                <a:gd name="T37" fmla="*/ 1644 h 1759"/>
                <a:gd name="T38" fmla="*/ 105 w 380"/>
                <a:gd name="T39" fmla="*/ 1644 h 1759"/>
                <a:gd name="T40" fmla="*/ 149 w 380"/>
                <a:gd name="T41" fmla="*/ 1622 h 1759"/>
                <a:gd name="T42" fmla="*/ 127 w 380"/>
                <a:gd name="T43" fmla="*/ 1627 h 1759"/>
                <a:gd name="T44" fmla="*/ 94 w 380"/>
                <a:gd name="T45" fmla="*/ 1627 h 1759"/>
                <a:gd name="T46" fmla="*/ 88 w 380"/>
                <a:gd name="T47" fmla="*/ 1627 h 1759"/>
                <a:gd name="T48" fmla="*/ 105 w 380"/>
                <a:gd name="T49" fmla="*/ 1600 h 1759"/>
                <a:gd name="T50" fmla="*/ 127 w 380"/>
                <a:gd name="T51" fmla="*/ 1611 h 1759"/>
                <a:gd name="T52" fmla="*/ 121 w 380"/>
                <a:gd name="T53" fmla="*/ 1572 h 1759"/>
                <a:gd name="T54" fmla="*/ 110 w 380"/>
                <a:gd name="T55" fmla="*/ 1594 h 1759"/>
                <a:gd name="T56" fmla="*/ 83 w 380"/>
                <a:gd name="T57" fmla="*/ 1578 h 1759"/>
                <a:gd name="T58" fmla="*/ 77 w 380"/>
                <a:gd name="T59" fmla="*/ 1556 h 1759"/>
                <a:gd name="T60" fmla="*/ 83 w 380"/>
                <a:gd name="T61" fmla="*/ 1523 h 1759"/>
                <a:gd name="T62" fmla="*/ 61 w 380"/>
                <a:gd name="T63" fmla="*/ 1517 h 1759"/>
                <a:gd name="T64" fmla="*/ 72 w 380"/>
                <a:gd name="T65" fmla="*/ 1506 h 1759"/>
                <a:gd name="T66" fmla="*/ 66 w 380"/>
                <a:gd name="T67" fmla="*/ 1484 h 1759"/>
                <a:gd name="T68" fmla="*/ 66 w 380"/>
                <a:gd name="T69" fmla="*/ 1451 h 1759"/>
                <a:gd name="T70" fmla="*/ 55 w 380"/>
                <a:gd name="T71" fmla="*/ 1440 h 1759"/>
                <a:gd name="T72" fmla="*/ 50 w 380"/>
                <a:gd name="T73" fmla="*/ 1402 h 1759"/>
                <a:gd name="T74" fmla="*/ 94 w 380"/>
                <a:gd name="T75" fmla="*/ 1413 h 1759"/>
                <a:gd name="T76" fmla="*/ 55 w 380"/>
                <a:gd name="T77" fmla="*/ 1396 h 1759"/>
                <a:gd name="T78" fmla="*/ 72 w 380"/>
                <a:gd name="T79" fmla="*/ 1385 h 1759"/>
                <a:gd name="T80" fmla="*/ 66 w 380"/>
                <a:gd name="T81" fmla="*/ 1358 h 1759"/>
                <a:gd name="T82" fmla="*/ 17 w 380"/>
                <a:gd name="T83" fmla="*/ 1341 h 1759"/>
                <a:gd name="T84" fmla="*/ 17 w 380"/>
                <a:gd name="T85" fmla="*/ 1330 h 1759"/>
                <a:gd name="T86" fmla="*/ 55 w 380"/>
                <a:gd name="T87" fmla="*/ 1303 h 1759"/>
                <a:gd name="T88" fmla="*/ 77 w 380"/>
                <a:gd name="T89" fmla="*/ 1319 h 1759"/>
                <a:gd name="T90" fmla="*/ 99 w 380"/>
                <a:gd name="T91" fmla="*/ 1303 h 1759"/>
                <a:gd name="T92" fmla="*/ 99 w 380"/>
                <a:gd name="T93" fmla="*/ 1264 h 1759"/>
                <a:gd name="T94" fmla="*/ 110 w 380"/>
                <a:gd name="T95" fmla="*/ 1220 h 1759"/>
                <a:gd name="T96" fmla="*/ 121 w 380"/>
                <a:gd name="T97" fmla="*/ 1154 h 1759"/>
                <a:gd name="T98" fmla="*/ 132 w 380"/>
                <a:gd name="T99" fmla="*/ 1116 h 1759"/>
                <a:gd name="T100" fmla="*/ 83 w 380"/>
                <a:gd name="T101" fmla="*/ 1116 h 1759"/>
                <a:gd name="T102" fmla="*/ 99 w 380"/>
                <a:gd name="T103" fmla="*/ 1028 h 1759"/>
                <a:gd name="T104" fmla="*/ 88 w 380"/>
                <a:gd name="T105" fmla="*/ 907 h 1759"/>
                <a:gd name="T106" fmla="*/ 132 w 380"/>
                <a:gd name="T107" fmla="*/ 835 h 1759"/>
                <a:gd name="T108" fmla="*/ 182 w 380"/>
                <a:gd name="T109" fmla="*/ 703 h 1759"/>
                <a:gd name="T110" fmla="*/ 193 w 380"/>
                <a:gd name="T111" fmla="*/ 566 h 1759"/>
                <a:gd name="T112" fmla="*/ 209 w 380"/>
                <a:gd name="T113" fmla="*/ 461 h 1759"/>
                <a:gd name="T114" fmla="*/ 220 w 380"/>
                <a:gd name="T115" fmla="*/ 368 h 1759"/>
                <a:gd name="T116" fmla="*/ 220 w 380"/>
                <a:gd name="T117" fmla="*/ 258 h 1759"/>
                <a:gd name="T118" fmla="*/ 242 w 380"/>
                <a:gd name="T119" fmla="*/ 153 h 1759"/>
                <a:gd name="T120" fmla="*/ 231 w 380"/>
                <a:gd name="T121" fmla="*/ 44 h 1759"/>
                <a:gd name="T122" fmla="*/ 248 w 380"/>
                <a:gd name="T123" fmla="*/ 1699 h 1759"/>
                <a:gd name="T124" fmla="*/ 55 w 380"/>
                <a:gd name="T125" fmla="*/ 1468 h 1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80"/>
                <a:gd name="T190" fmla="*/ 0 h 1759"/>
                <a:gd name="T191" fmla="*/ 380 w 380"/>
                <a:gd name="T192" fmla="*/ 1759 h 1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80" h="1759">
                  <a:moveTo>
                    <a:pt x="231" y="38"/>
                  </a:moveTo>
                  <a:lnTo>
                    <a:pt x="231" y="38"/>
                  </a:lnTo>
                  <a:lnTo>
                    <a:pt x="237" y="38"/>
                  </a:lnTo>
                  <a:lnTo>
                    <a:pt x="242" y="38"/>
                  </a:lnTo>
                  <a:lnTo>
                    <a:pt x="242" y="33"/>
                  </a:lnTo>
                  <a:lnTo>
                    <a:pt x="248" y="33"/>
                  </a:lnTo>
                  <a:lnTo>
                    <a:pt x="253" y="27"/>
                  </a:lnTo>
                  <a:lnTo>
                    <a:pt x="259" y="22"/>
                  </a:lnTo>
                  <a:lnTo>
                    <a:pt x="253" y="16"/>
                  </a:lnTo>
                  <a:lnTo>
                    <a:pt x="253" y="11"/>
                  </a:lnTo>
                  <a:lnTo>
                    <a:pt x="253" y="5"/>
                  </a:lnTo>
                  <a:lnTo>
                    <a:pt x="259" y="5"/>
                  </a:lnTo>
                  <a:lnTo>
                    <a:pt x="270" y="0"/>
                  </a:lnTo>
                  <a:lnTo>
                    <a:pt x="270" y="5"/>
                  </a:lnTo>
                  <a:lnTo>
                    <a:pt x="275" y="11"/>
                  </a:lnTo>
                  <a:lnTo>
                    <a:pt x="275" y="16"/>
                  </a:lnTo>
                  <a:lnTo>
                    <a:pt x="275" y="22"/>
                  </a:lnTo>
                  <a:lnTo>
                    <a:pt x="281" y="22"/>
                  </a:lnTo>
                  <a:lnTo>
                    <a:pt x="286" y="22"/>
                  </a:lnTo>
                  <a:lnTo>
                    <a:pt x="286" y="27"/>
                  </a:lnTo>
                  <a:lnTo>
                    <a:pt x="286" y="33"/>
                  </a:lnTo>
                  <a:lnTo>
                    <a:pt x="286" y="38"/>
                  </a:lnTo>
                  <a:lnTo>
                    <a:pt x="286" y="44"/>
                  </a:lnTo>
                  <a:lnTo>
                    <a:pt x="286" y="49"/>
                  </a:lnTo>
                  <a:lnTo>
                    <a:pt x="292" y="55"/>
                  </a:lnTo>
                  <a:lnTo>
                    <a:pt x="292" y="60"/>
                  </a:lnTo>
                  <a:lnTo>
                    <a:pt x="292" y="65"/>
                  </a:lnTo>
                  <a:lnTo>
                    <a:pt x="292" y="71"/>
                  </a:lnTo>
                  <a:lnTo>
                    <a:pt x="297" y="71"/>
                  </a:lnTo>
                  <a:lnTo>
                    <a:pt x="303" y="76"/>
                  </a:lnTo>
                  <a:lnTo>
                    <a:pt x="303" y="82"/>
                  </a:lnTo>
                  <a:lnTo>
                    <a:pt x="308" y="82"/>
                  </a:lnTo>
                  <a:lnTo>
                    <a:pt x="314" y="87"/>
                  </a:lnTo>
                  <a:lnTo>
                    <a:pt x="308" y="98"/>
                  </a:lnTo>
                  <a:lnTo>
                    <a:pt x="303" y="98"/>
                  </a:lnTo>
                  <a:lnTo>
                    <a:pt x="303" y="104"/>
                  </a:lnTo>
                  <a:lnTo>
                    <a:pt x="308" y="104"/>
                  </a:lnTo>
                  <a:lnTo>
                    <a:pt x="308" y="109"/>
                  </a:lnTo>
                  <a:lnTo>
                    <a:pt x="314" y="109"/>
                  </a:lnTo>
                  <a:lnTo>
                    <a:pt x="308" y="115"/>
                  </a:lnTo>
                  <a:lnTo>
                    <a:pt x="303" y="115"/>
                  </a:lnTo>
                  <a:lnTo>
                    <a:pt x="303" y="120"/>
                  </a:lnTo>
                  <a:lnTo>
                    <a:pt x="297" y="120"/>
                  </a:lnTo>
                  <a:lnTo>
                    <a:pt x="303" y="120"/>
                  </a:lnTo>
                  <a:lnTo>
                    <a:pt x="303" y="126"/>
                  </a:lnTo>
                  <a:lnTo>
                    <a:pt x="303" y="131"/>
                  </a:lnTo>
                  <a:lnTo>
                    <a:pt x="303" y="137"/>
                  </a:lnTo>
                  <a:lnTo>
                    <a:pt x="308" y="142"/>
                  </a:lnTo>
                  <a:lnTo>
                    <a:pt x="314" y="142"/>
                  </a:lnTo>
                  <a:lnTo>
                    <a:pt x="314" y="148"/>
                  </a:lnTo>
                  <a:lnTo>
                    <a:pt x="308" y="148"/>
                  </a:lnTo>
                  <a:lnTo>
                    <a:pt x="308" y="153"/>
                  </a:lnTo>
                  <a:lnTo>
                    <a:pt x="314" y="159"/>
                  </a:lnTo>
                  <a:lnTo>
                    <a:pt x="325" y="175"/>
                  </a:lnTo>
                  <a:lnTo>
                    <a:pt x="325" y="186"/>
                  </a:lnTo>
                  <a:lnTo>
                    <a:pt x="330" y="192"/>
                  </a:lnTo>
                  <a:lnTo>
                    <a:pt x="330" y="197"/>
                  </a:lnTo>
                  <a:lnTo>
                    <a:pt x="330" y="203"/>
                  </a:lnTo>
                  <a:lnTo>
                    <a:pt x="336" y="208"/>
                  </a:lnTo>
                  <a:lnTo>
                    <a:pt x="336" y="214"/>
                  </a:lnTo>
                  <a:lnTo>
                    <a:pt x="336" y="219"/>
                  </a:lnTo>
                  <a:lnTo>
                    <a:pt x="341" y="225"/>
                  </a:lnTo>
                  <a:lnTo>
                    <a:pt x="341" y="230"/>
                  </a:lnTo>
                  <a:lnTo>
                    <a:pt x="341" y="241"/>
                  </a:lnTo>
                  <a:lnTo>
                    <a:pt x="341" y="247"/>
                  </a:lnTo>
                  <a:lnTo>
                    <a:pt x="352" y="247"/>
                  </a:lnTo>
                  <a:lnTo>
                    <a:pt x="369" y="241"/>
                  </a:lnTo>
                  <a:lnTo>
                    <a:pt x="380" y="252"/>
                  </a:lnTo>
                  <a:lnTo>
                    <a:pt x="369" y="269"/>
                  </a:lnTo>
                  <a:lnTo>
                    <a:pt x="363" y="302"/>
                  </a:lnTo>
                  <a:lnTo>
                    <a:pt x="325" y="318"/>
                  </a:lnTo>
                  <a:lnTo>
                    <a:pt x="319" y="324"/>
                  </a:lnTo>
                  <a:lnTo>
                    <a:pt x="314" y="324"/>
                  </a:lnTo>
                  <a:lnTo>
                    <a:pt x="314" y="329"/>
                  </a:lnTo>
                  <a:lnTo>
                    <a:pt x="314" y="324"/>
                  </a:lnTo>
                  <a:lnTo>
                    <a:pt x="314" y="329"/>
                  </a:lnTo>
                  <a:lnTo>
                    <a:pt x="308" y="335"/>
                  </a:lnTo>
                  <a:lnTo>
                    <a:pt x="308" y="340"/>
                  </a:lnTo>
                  <a:lnTo>
                    <a:pt x="314" y="340"/>
                  </a:lnTo>
                  <a:lnTo>
                    <a:pt x="314" y="346"/>
                  </a:lnTo>
                  <a:lnTo>
                    <a:pt x="319" y="351"/>
                  </a:lnTo>
                  <a:lnTo>
                    <a:pt x="314" y="351"/>
                  </a:lnTo>
                  <a:lnTo>
                    <a:pt x="308" y="362"/>
                  </a:lnTo>
                  <a:lnTo>
                    <a:pt x="308" y="368"/>
                  </a:lnTo>
                  <a:lnTo>
                    <a:pt x="308" y="373"/>
                  </a:lnTo>
                  <a:lnTo>
                    <a:pt x="314" y="379"/>
                  </a:lnTo>
                  <a:lnTo>
                    <a:pt x="314" y="395"/>
                  </a:lnTo>
                  <a:lnTo>
                    <a:pt x="314" y="401"/>
                  </a:lnTo>
                  <a:lnTo>
                    <a:pt x="308" y="406"/>
                  </a:lnTo>
                  <a:lnTo>
                    <a:pt x="308" y="412"/>
                  </a:lnTo>
                  <a:lnTo>
                    <a:pt x="308" y="417"/>
                  </a:lnTo>
                  <a:lnTo>
                    <a:pt x="314" y="423"/>
                  </a:lnTo>
                  <a:lnTo>
                    <a:pt x="319" y="434"/>
                  </a:lnTo>
                  <a:lnTo>
                    <a:pt x="319" y="439"/>
                  </a:lnTo>
                  <a:lnTo>
                    <a:pt x="314" y="439"/>
                  </a:lnTo>
                  <a:lnTo>
                    <a:pt x="308" y="439"/>
                  </a:lnTo>
                  <a:lnTo>
                    <a:pt x="308" y="445"/>
                  </a:lnTo>
                  <a:lnTo>
                    <a:pt x="303" y="439"/>
                  </a:lnTo>
                  <a:lnTo>
                    <a:pt x="297" y="439"/>
                  </a:lnTo>
                  <a:lnTo>
                    <a:pt x="297" y="445"/>
                  </a:lnTo>
                  <a:lnTo>
                    <a:pt x="297" y="450"/>
                  </a:lnTo>
                  <a:lnTo>
                    <a:pt x="292" y="456"/>
                  </a:lnTo>
                  <a:lnTo>
                    <a:pt x="286" y="461"/>
                  </a:lnTo>
                  <a:lnTo>
                    <a:pt x="286" y="467"/>
                  </a:lnTo>
                  <a:lnTo>
                    <a:pt x="286" y="472"/>
                  </a:lnTo>
                  <a:lnTo>
                    <a:pt x="286" y="478"/>
                  </a:lnTo>
                  <a:lnTo>
                    <a:pt x="281" y="483"/>
                  </a:lnTo>
                  <a:lnTo>
                    <a:pt x="275" y="483"/>
                  </a:lnTo>
                  <a:lnTo>
                    <a:pt x="275" y="489"/>
                  </a:lnTo>
                  <a:lnTo>
                    <a:pt x="275" y="494"/>
                  </a:lnTo>
                  <a:lnTo>
                    <a:pt x="270" y="494"/>
                  </a:lnTo>
                  <a:lnTo>
                    <a:pt x="270" y="500"/>
                  </a:lnTo>
                  <a:lnTo>
                    <a:pt x="264" y="500"/>
                  </a:lnTo>
                  <a:lnTo>
                    <a:pt x="259" y="511"/>
                  </a:lnTo>
                  <a:lnTo>
                    <a:pt x="259" y="516"/>
                  </a:lnTo>
                  <a:lnTo>
                    <a:pt x="259" y="522"/>
                  </a:lnTo>
                  <a:lnTo>
                    <a:pt x="253" y="527"/>
                  </a:lnTo>
                  <a:lnTo>
                    <a:pt x="253" y="533"/>
                  </a:lnTo>
                  <a:lnTo>
                    <a:pt x="248" y="538"/>
                  </a:lnTo>
                  <a:lnTo>
                    <a:pt x="248" y="544"/>
                  </a:lnTo>
                  <a:lnTo>
                    <a:pt x="248" y="555"/>
                  </a:lnTo>
                  <a:lnTo>
                    <a:pt x="248" y="560"/>
                  </a:lnTo>
                  <a:lnTo>
                    <a:pt x="248" y="566"/>
                  </a:lnTo>
                  <a:lnTo>
                    <a:pt x="253" y="566"/>
                  </a:lnTo>
                  <a:lnTo>
                    <a:pt x="248" y="571"/>
                  </a:lnTo>
                  <a:lnTo>
                    <a:pt x="248" y="577"/>
                  </a:lnTo>
                  <a:lnTo>
                    <a:pt x="253" y="577"/>
                  </a:lnTo>
                  <a:lnTo>
                    <a:pt x="253" y="582"/>
                  </a:lnTo>
                  <a:lnTo>
                    <a:pt x="253" y="588"/>
                  </a:lnTo>
                  <a:lnTo>
                    <a:pt x="248" y="593"/>
                  </a:lnTo>
                  <a:lnTo>
                    <a:pt x="242" y="593"/>
                  </a:lnTo>
                  <a:lnTo>
                    <a:pt x="237" y="593"/>
                  </a:lnTo>
                  <a:lnTo>
                    <a:pt x="242" y="593"/>
                  </a:lnTo>
                  <a:lnTo>
                    <a:pt x="242" y="599"/>
                  </a:lnTo>
                  <a:lnTo>
                    <a:pt x="237" y="599"/>
                  </a:lnTo>
                  <a:lnTo>
                    <a:pt x="237" y="604"/>
                  </a:lnTo>
                  <a:lnTo>
                    <a:pt x="237" y="610"/>
                  </a:lnTo>
                  <a:lnTo>
                    <a:pt x="231" y="610"/>
                  </a:lnTo>
                  <a:lnTo>
                    <a:pt x="231" y="615"/>
                  </a:lnTo>
                  <a:lnTo>
                    <a:pt x="231" y="621"/>
                  </a:lnTo>
                  <a:lnTo>
                    <a:pt x="237" y="621"/>
                  </a:lnTo>
                  <a:lnTo>
                    <a:pt x="231" y="621"/>
                  </a:lnTo>
                  <a:lnTo>
                    <a:pt x="231" y="626"/>
                  </a:lnTo>
                  <a:lnTo>
                    <a:pt x="226" y="626"/>
                  </a:lnTo>
                  <a:lnTo>
                    <a:pt x="226" y="632"/>
                  </a:lnTo>
                  <a:lnTo>
                    <a:pt x="220" y="637"/>
                  </a:lnTo>
                  <a:lnTo>
                    <a:pt x="220" y="643"/>
                  </a:lnTo>
                  <a:lnTo>
                    <a:pt x="220" y="648"/>
                  </a:lnTo>
                  <a:lnTo>
                    <a:pt x="226" y="654"/>
                  </a:lnTo>
                  <a:lnTo>
                    <a:pt x="226" y="659"/>
                  </a:lnTo>
                  <a:lnTo>
                    <a:pt x="231" y="659"/>
                  </a:lnTo>
                  <a:lnTo>
                    <a:pt x="237" y="665"/>
                  </a:lnTo>
                  <a:lnTo>
                    <a:pt x="237" y="670"/>
                  </a:lnTo>
                  <a:lnTo>
                    <a:pt x="231" y="670"/>
                  </a:lnTo>
                  <a:lnTo>
                    <a:pt x="231" y="676"/>
                  </a:lnTo>
                  <a:lnTo>
                    <a:pt x="231" y="681"/>
                  </a:lnTo>
                  <a:lnTo>
                    <a:pt x="237" y="681"/>
                  </a:lnTo>
                  <a:lnTo>
                    <a:pt x="237" y="687"/>
                  </a:lnTo>
                  <a:lnTo>
                    <a:pt x="242" y="692"/>
                  </a:lnTo>
                  <a:lnTo>
                    <a:pt x="237" y="692"/>
                  </a:lnTo>
                  <a:lnTo>
                    <a:pt x="237" y="698"/>
                  </a:lnTo>
                  <a:lnTo>
                    <a:pt x="242" y="703"/>
                  </a:lnTo>
                  <a:lnTo>
                    <a:pt x="242" y="709"/>
                  </a:lnTo>
                  <a:lnTo>
                    <a:pt x="248" y="709"/>
                  </a:lnTo>
                  <a:lnTo>
                    <a:pt x="248" y="714"/>
                  </a:lnTo>
                  <a:lnTo>
                    <a:pt x="242" y="714"/>
                  </a:lnTo>
                  <a:lnTo>
                    <a:pt x="242" y="720"/>
                  </a:lnTo>
                  <a:lnTo>
                    <a:pt x="248" y="725"/>
                  </a:lnTo>
                  <a:lnTo>
                    <a:pt x="253" y="725"/>
                  </a:lnTo>
                  <a:lnTo>
                    <a:pt x="253" y="731"/>
                  </a:lnTo>
                  <a:lnTo>
                    <a:pt x="259" y="731"/>
                  </a:lnTo>
                  <a:lnTo>
                    <a:pt x="253" y="736"/>
                  </a:lnTo>
                  <a:lnTo>
                    <a:pt x="253" y="742"/>
                  </a:lnTo>
                  <a:lnTo>
                    <a:pt x="253" y="747"/>
                  </a:lnTo>
                  <a:lnTo>
                    <a:pt x="253" y="753"/>
                  </a:lnTo>
                  <a:lnTo>
                    <a:pt x="253" y="758"/>
                  </a:lnTo>
                  <a:lnTo>
                    <a:pt x="253" y="764"/>
                  </a:lnTo>
                  <a:lnTo>
                    <a:pt x="253" y="769"/>
                  </a:lnTo>
                  <a:lnTo>
                    <a:pt x="253" y="775"/>
                  </a:lnTo>
                  <a:lnTo>
                    <a:pt x="248" y="769"/>
                  </a:lnTo>
                  <a:lnTo>
                    <a:pt x="242" y="775"/>
                  </a:lnTo>
                  <a:lnTo>
                    <a:pt x="242" y="780"/>
                  </a:lnTo>
                  <a:lnTo>
                    <a:pt x="242" y="786"/>
                  </a:lnTo>
                  <a:lnTo>
                    <a:pt x="237" y="786"/>
                  </a:lnTo>
                  <a:lnTo>
                    <a:pt x="237" y="791"/>
                  </a:lnTo>
                  <a:lnTo>
                    <a:pt x="231" y="791"/>
                  </a:lnTo>
                  <a:lnTo>
                    <a:pt x="237" y="797"/>
                  </a:lnTo>
                  <a:lnTo>
                    <a:pt x="231" y="802"/>
                  </a:lnTo>
                  <a:lnTo>
                    <a:pt x="231" y="813"/>
                  </a:lnTo>
                  <a:lnTo>
                    <a:pt x="226" y="813"/>
                  </a:lnTo>
                  <a:lnTo>
                    <a:pt x="220" y="819"/>
                  </a:lnTo>
                  <a:lnTo>
                    <a:pt x="226" y="819"/>
                  </a:lnTo>
                  <a:lnTo>
                    <a:pt x="226" y="824"/>
                  </a:lnTo>
                  <a:lnTo>
                    <a:pt x="226" y="830"/>
                  </a:lnTo>
                  <a:lnTo>
                    <a:pt x="231" y="830"/>
                  </a:lnTo>
                  <a:lnTo>
                    <a:pt x="231" y="835"/>
                  </a:lnTo>
                  <a:lnTo>
                    <a:pt x="226" y="835"/>
                  </a:lnTo>
                  <a:lnTo>
                    <a:pt x="231" y="846"/>
                  </a:lnTo>
                  <a:lnTo>
                    <a:pt x="226" y="846"/>
                  </a:lnTo>
                  <a:lnTo>
                    <a:pt x="231" y="846"/>
                  </a:lnTo>
                  <a:lnTo>
                    <a:pt x="226" y="852"/>
                  </a:lnTo>
                  <a:lnTo>
                    <a:pt x="231" y="857"/>
                  </a:lnTo>
                  <a:lnTo>
                    <a:pt x="226" y="857"/>
                  </a:lnTo>
                  <a:lnTo>
                    <a:pt x="220" y="857"/>
                  </a:lnTo>
                  <a:lnTo>
                    <a:pt x="220" y="863"/>
                  </a:lnTo>
                  <a:lnTo>
                    <a:pt x="215" y="863"/>
                  </a:lnTo>
                  <a:lnTo>
                    <a:pt x="215" y="868"/>
                  </a:lnTo>
                  <a:lnTo>
                    <a:pt x="215" y="874"/>
                  </a:lnTo>
                  <a:lnTo>
                    <a:pt x="209" y="874"/>
                  </a:lnTo>
                  <a:lnTo>
                    <a:pt x="209" y="868"/>
                  </a:lnTo>
                  <a:lnTo>
                    <a:pt x="209" y="874"/>
                  </a:lnTo>
                  <a:lnTo>
                    <a:pt x="204" y="874"/>
                  </a:lnTo>
                  <a:lnTo>
                    <a:pt x="198" y="879"/>
                  </a:lnTo>
                  <a:lnTo>
                    <a:pt x="198" y="885"/>
                  </a:lnTo>
                  <a:lnTo>
                    <a:pt x="193" y="890"/>
                  </a:lnTo>
                  <a:lnTo>
                    <a:pt x="198" y="896"/>
                  </a:lnTo>
                  <a:lnTo>
                    <a:pt x="193" y="896"/>
                  </a:lnTo>
                  <a:lnTo>
                    <a:pt x="198" y="896"/>
                  </a:lnTo>
                  <a:lnTo>
                    <a:pt x="198" y="901"/>
                  </a:lnTo>
                  <a:lnTo>
                    <a:pt x="198" y="907"/>
                  </a:lnTo>
                  <a:lnTo>
                    <a:pt x="193" y="912"/>
                  </a:lnTo>
                  <a:lnTo>
                    <a:pt x="198" y="918"/>
                  </a:lnTo>
                  <a:lnTo>
                    <a:pt x="198" y="923"/>
                  </a:lnTo>
                  <a:lnTo>
                    <a:pt x="198" y="929"/>
                  </a:lnTo>
                  <a:lnTo>
                    <a:pt x="193" y="929"/>
                  </a:lnTo>
                  <a:lnTo>
                    <a:pt x="204" y="945"/>
                  </a:lnTo>
                  <a:lnTo>
                    <a:pt x="204" y="951"/>
                  </a:lnTo>
                  <a:lnTo>
                    <a:pt x="204" y="956"/>
                  </a:lnTo>
                  <a:lnTo>
                    <a:pt x="204" y="962"/>
                  </a:lnTo>
                  <a:lnTo>
                    <a:pt x="209" y="967"/>
                  </a:lnTo>
                  <a:lnTo>
                    <a:pt x="209" y="973"/>
                  </a:lnTo>
                  <a:lnTo>
                    <a:pt x="209" y="978"/>
                  </a:lnTo>
                  <a:lnTo>
                    <a:pt x="204" y="978"/>
                  </a:lnTo>
                  <a:lnTo>
                    <a:pt x="198" y="978"/>
                  </a:lnTo>
                  <a:lnTo>
                    <a:pt x="198" y="984"/>
                  </a:lnTo>
                  <a:lnTo>
                    <a:pt x="193" y="984"/>
                  </a:lnTo>
                  <a:lnTo>
                    <a:pt x="187" y="989"/>
                  </a:lnTo>
                  <a:lnTo>
                    <a:pt x="182" y="995"/>
                  </a:lnTo>
                  <a:lnTo>
                    <a:pt x="187" y="1000"/>
                  </a:lnTo>
                  <a:lnTo>
                    <a:pt x="187" y="1006"/>
                  </a:lnTo>
                  <a:lnTo>
                    <a:pt x="182" y="1006"/>
                  </a:lnTo>
                  <a:lnTo>
                    <a:pt x="182" y="1011"/>
                  </a:lnTo>
                  <a:lnTo>
                    <a:pt x="182" y="1017"/>
                  </a:lnTo>
                  <a:lnTo>
                    <a:pt x="176" y="1017"/>
                  </a:lnTo>
                  <a:lnTo>
                    <a:pt x="171" y="1017"/>
                  </a:lnTo>
                  <a:lnTo>
                    <a:pt x="171" y="1022"/>
                  </a:lnTo>
                  <a:lnTo>
                    <a:pt x="176" y="1028"/>
                  </a:lnTo>
                  <a:lnTo>
                    <a:pt x="176" y="1033"/>
                  </a:lnTo>
                  <a:lnTo>
                    <a:pt x="176" y="1039"/>
                  </a:lnTo>
                  <a:lnTo>
                    <a:pt x="171" y="1039"/>
                  </a:lnTo>
                  <a:lnTo>
                    <a:pt x="165" y="1039"/>
                  </a:lnTo>
                  <a:lnTo>
                    <a:pt x="171" y="1044"/>
                  </a:lnTo>
                  <a:lnTo>
                    <a:pt x="165" y="1044"/>
                  </a:lnTo>
                  <a:lnTo>
                    <a:pt x="171" y="1050"/>
                  </a:lnTo>
                  <a:lnTo>
                    <a:pt x="176" y="1050"/>
                  </a:lnTo>
                  <a:lnTo>
                    <a:pt x="171" y="1055"/>
                  </a:lnTo>
                  <a:lnTo>
                    <a:pt x="165" y="1061"/>
                  </a:lnTo>
                  <a:lnTo>
                    <a:pt x="165" y="1066"/>
                  </a:lnTo>
                  <a:lnTo>
                    <a:pt x="160" y="1072"/>
                  </a:lnTo>
                  <a:lnTo>
                    <a:pt x="165" y="1077"/>
                  </a:lnTo>
                  <a:lnTo>
                    <a:pt x="165" y="1083"/>
                  </a:lnTo>
                  <a:lnTo>
                    <a:pt x="165" y="1088"/>
                  </a:lnTo>
                  <a:lnTo>
                    <a:pt x="165" y="1094"/>
                  </a:lnTo>
                  <a:lnTo>
                    <a:pt x="165" y="1099"/>
                  </a:lnTo>
                  <a:lnTo>
                    <a:pt x="165" y="1105"/>
                  </a:lnTo>
                  <a:lnTo>
                    <a:pt x="165" y="1110"/>
                  </a:lnTo>
                  <a:lnTo>
                    <a:pt x="165" y="1116"/>
                  </a:lnTo>
                  <a:lnTo>
                    <a:pt x="165" y="1121"/>
                  </a:lnTo>
                  <a:lnTo>
                    <a:pt x="171" y="1121"/>
                  </a:lnTo>
                  <a:lnTo>
                    <a:pt x="171" y="1127"/>
                  </a:lnTo>
                  <a:lnTo>
                    <a:pt x="171" y="1132"/>
                  </a:lnTo>
                  <a:lnTo>
                    <a:pt x="171" y="1138"/>
                  </a:lnTo>
                  <a:lnTo>
                    <a:pt x="165" y="1138"/>
                  </a:lnTo>
                  <a:lnTo>
                    <a:pt x="160" y="1138"/>
                  </a:lnTo>
                  <a:lnTo>
                    <a:pt x="154" y="1138"/>
                  </a:lnTo>
                  <a:lnTo>
                    <a:pt x="154" y="1143"/>
                  </a:lnTo>
                  <a:lnTo>
                    <a:pt x="160" y="1143"/>
                  </a:lnTo>
                  <a:lnTo>
                    <a:pt x="154" y="1149"/>
                  </a:lnTo>
                  <a:lnTo>
                    <a:pt x="160" y="1149"/>
                  </a:lnTo>
                  <a:lnTo>
                    <a:pt x="154" y="1154"/>
                  </a:lnTo>
                  <a:lnTo>
                    <a:pt x="154" y="1160"/>
                  </a:lnTo>
                  <a:lnTo>
                    <a:pt x="154" y="1165"/>
                  </a:lnTo>
                  <a:lnTo>
                    <a:pt x="154" y="1176"/>
                  </a:lnTo>
                  <a:lnTo>
                    <a:pt x="160" y="1182"/>
                  </a:lnTo>
                  <a:lnTo>
                    <a:pt x="165" y="1182"/>
                  </a:lnTo>
                  <a:lnTo>
                    <a:pt x="171" y="1182"/>
                  </a:lnTo>
                  <a:lnTo>
                    <a:pt x="171" y="1187"/>
                  </a:lnTo>
                  <a:lnTo>
                    <a:pt x="165" y="1187"/>
                  </a:lnTo>
                  <a:lnTo>
                    <a:pt x="165" y="1193"/>
                  </a:lnTo>
                  <a:lnTo>
                    <a:pt x="160" y="1193"/>
                  </a:lnTo>
                  <a:lnTo>
                    <a:pt x="165" y="1193"/>
                  </a:lnTo>
                  <a:lnTo>
                    <a:pt x="160" y="1193"/>
                  </a:lnTo>
                  <a:lnTo>
                    <a:pt x="165" y="1198"/>
                  </a:lnTo>
                  <a:lnTo>
                    <a:pt x="171" y="1198"/>
                  </a:lnTo>
                  <a:lnTo>
                    <a:pt x="171" y="1204"/>
                  </a:lnTo>
                  <a:lnTo>
                    <a:pt x="165" y="1209"/>
                  </a:lnTo>
                  <a:lnTo>
                    <a:pt x="171" y="1209"/>
                  </a:lnTo>
                  <a:lnTo>
                    <a:pt x="171" y="1215"/>
                  </a:lnTo>
                  <a:lnTo>
                    <a:pt x="176" y="1220"/>
                  </a:lnTo>
                  <a:lnTo>
                    <a:pt x="171" y="1226"/>
                  </a:lnTo>
                  <a:lnTo>
                    <a:pt x="165" y="1226"/>
                  </a:lnTo>
                  <a:lnTo>
                    <a:pt x="165" y="1231"/>
                  </a:lnTo>
                  <a:lnTo>
                    <a:pt x="165" y="1237"/>
                  </a:lnTo>
                  <a:lnTo>
                    <a:pt x="165" y="1242"/>
                  </a:lnTo>
                  <a:lnTo>
                    <a:pt x="171" y="1242"/>
                  </a:lnTo>
                  <a:lnTo>
                    <a:pt x="171" y="1237"/>
                  </a:lnTo>
                  <a:lnTo>
                    <a:pt x="176" y="1242"/>
                  </a:lnTo>
                  <a:lnTo>
                    <a:pt x="182" y="1242"/>
                  </a:lnTo>
                  <a:lnTo>
                    <a:pt x="187" y="1242"/>
                  </a:lnTo>
                  <a:lnTo>
                    <a:pt x="193" y="1242"/>
                  </a:lnTo>
                  <a:lnTo>
                    <a:pt x="198" y="1242"/>
                  </a:lnTo>
                  <a:lnTo>
                    <a:pt x="198" y="1248"/>
                  </a:lnTo>
                  <a:lnTo>
                    <a:pt x="193" y="1248"/>
                  </a:lnTo>
                  <a:lnTo>
                    <a:pt x="193" y="1253"/>
                  </a:lnTo>
                  <a:lnTo>
                    <a:pt x="193" y="1259"/>
                  </a:lnTo>
                  <a:lnTo>
                    <a:pt x="187" y="1259"/>
                  </a:lnTo>
                  <a:lnTo>
                    <a:pt x="182" y="1253"/>
                  </a:lnTo>
                  <a:lnTo>
                    <a:pt x="176" y="1259"/>
                  </a:lnTo>
                  <a:lnTo>
                    <a:pt x="171" y="1253"/>
                  </a:lnTo>
                  <a:lnTo>
                    <a:pt x="165" y="1259"/>
                  </a:lnTo>
                  <a:lnTo>
                    <a:pt x="160" y="1259"/>
                  </a:lnTo>
                  <a:lnTo>
                    <a:pt x="160" y="1253"/>
                  </a:lnTo>
                  <a:lnTo>
                    <a:pt x="154" y="1259"/>
                  </a:lnTo>
                  <a:lnTo>
                    <a:pt x="154" y="1264"/>
                  </a:lnTo>
                  <a:lnTo>
                    <a:pt x="160" y="1264"/>
                  </a:lnTo>
                  <a:lnTo>
                    <a:pt x="165" y="1264"/>
                  </a:lnTo>
                  <a:lnTo>
                    <a:pt x="171" y="1264"/>
                  </a:lnTo>
                  <a:lnTo>
                    <a:pt x="176" y="1264"/>
                  </a:lnTo>
                  <a:lnTo>
                    <a:pt x="182" y="1275"/>
                  </a:lnTo>
                  <a:lnTo>
                    <a:pt x="187" y="1275"/>
                  </a:lnTo>
                  <a:lnTo>
                    <a:pt x="187" y="1281"/>
                  </a:lnTo>
                  <a:lnTo>
                    <a:pt x="187" y="1286"/>
                  </a:lnTo>
                  <a:lnTo>
                    <a:pt x="182" y="1286"/>
                  </a:lnTo>
                  <a:lnTo>
                    <a:pt x="182" y="1292"/>
                  </a:lnTo>
                  <a:lnTo>
                    <a:pt x="171" y="1292"/>
                  </a:lnTo>
                  <a:lnTo>
                    <a:pt x="171" y="1297"/>
                  </a:lnTo>
                  <a:lnTo>
                    <a:pt x="171" y="1303"/>
                  </a:lnTo>
                  <a:lnTo>
                    <a:pt x="171" y="1308"/>
                  </a:lnTo>
                  <a:lnTo>
                    <a:pt x="176" y="1308"/>
                  </a:lnTo>
                  <a:lnTo>
                    <a:pt x="176" y="1314"/>
                  </a:lnTo>
                  <a:lnTo>
                    <a:pt x="171" y="1319"/>
                  </a:lnTo>
                  <a:lnTo>
                    <a:pt x="165" y="1319"/>
                  </a:lnTo>
                  <a:lnTo>
                    <a:pt x="165" y="1325"/>
                  </a:lnTo>
                  <a:lnTo>
                    <a:pt x="171" y="1325"/>
                  </a:lnTo>
                  <a:lnTo>
                    <a:pt x="171" y="1330"/>
                  </a:lnTo>
                  <a:lnTo>
                    <a:pt x="176" y="1336"/>
                  </a:lnTo>
                  <a:lnTo>
                    <a:pt x="171" y="1341"/>
                  </a:lnTo>
                  <a:lnTo>
                    <a:pt x="176" y="1347"/>
                  </a:lnTo>
                  <a:lnTo>
                    <a:pt x="171" y="1347"/>
                  </a:lnTo>
                  <a:lnTo>
                    <a:pt x="165" y="1352"/>
                  </a:lnTo>
                  <a:lnTo>
                    <a:pt x="160" y="1352"/>
                  </a:lnTo>
                  <a:lnTo>
                    <a:pt x="165" y="1352"/>
                  </a:lnTo>
                  <a:lnTo>
                    <a:pt x="160" y="1358"/>
                  </a:lnTo>
                  <a:lnTo>
                    <a:pt x="165" y="1358"/>
                  </a:lnTo>
                  <a:lnTo>
                    <a:pt x="160" y="1363"/>
                  </a:lnTo>
                  <a:lnTo>
                    <a:pt x="165" y="1363"/>
                  </a:lnTo>
                  <a:lnTo>
                    <a:pt x="165" y="1369"/>
                  </a:lnTo>
                  <a:lnTo>
                    <a:pt x="160" y="1369"/>
                  </a:lnTo>
                  <a:lnTo>
                    <a:pt x="160" y="1374"/>
                  </a:lnTo>
                  <a:lnTo>
                    <a:pt x="154" y="1374"/>
                  </a:lnTo>
                  <a:lnTo>
                    <a:pt x="154" y="1380"/>
                  </a:lnTo>
                  <a:lnTo>
                    <a:pt x="149" y="1380"/>
                  </a:lnTo>
                  <a:lnTo>
                    <a:pt x="143" y="1380"/>
                  </a:lnTo>
                  <a:lnTo>
                    <a:pt x="149" y="1385"/>
                  </a:lnTo>
                  <a:lnTo>
                    <a:pt x="143" y="1385"/>
                  </a:lnTo>
                  <a:lnTo>
                    <a:pt x="138" y="1396"/>
                  </a:lnTo>
                  <a:lnTo>
                    <a:pt x="138" y="1402"/>
                  </a:lnTo>
                  <a:lnTo>
                    <a:pt x="138" y="1407"/>
                  </a:lnTo>
                  <a:lnTo>
                    <a:pt x="143" y="1407"/>
                  </a:lnTo>
                  <a:lnTo>
                    <a:pt x="149" y="1413"/>
                  </a:lnTo>
                  <a:lnTo>
                    <a:pt x="143" y="1418"/>
                  </a:lnTo>
                  <a:lnTo>
                    <a:pt x="149" y="1424"/>
                  </a:lnTo>
                  <a:lnTo>
                    <a:pt x="143" y="1424"/>
                  </a:lnTo>
                  <a:lnTo>
                    <a:pt x="132" y="1429"/>
                  </a:lnTo>
                  <a:lnTo>
                    <a:pt x="138" y="1440"/>
                  </a:lnTo>
                  <a:lnTo>
                    <a:pt x="132" y="1440"/>
                  </a:lnTo>
                  <a:lnTo>
                    <a:pt x="127" y="1451"/>
                  </a:lnTo>
                  <a:lnTo>
                    <a:pt x="121" y="1451"/>
                  </a:lnTo>
                  <a:lnTo>
                    <a:pt x="116" y="1451"/>
                  </a:lnTo>
                  <a:lnTo>
                    <a:pt x="110" y="1457"/>
                  </a:lnTo>
                  <a:lnTo>
                    <a:pt x="110" y="1462"/>
                  </a:lnTo>
                  <a:lnTo>
                    <a:pt x="110" y="1468"/>
                  </a:lnTo>
                  <a:lnTo>
                    <a:pt x="94" y="1468"/>
                  </a:lnTo>
                  <a:lnTo>
                    <a:pt x="94" y="1473"/>
                  </a:lnTo>
                  <a:lnTo>
                    <a:pt x="88" y="1479"/>
                  </a:lnTo>
                  <a:lnTo>
                    <a:pt x="94" y="1479"/>
                  </a:lnTo>
                  <a:lnTo>
                    <a:pt x="94" y="1484"/>
                  </a:lnTo>
                  <a:lnTo>
                    <a:pt x="94" y="1490"/>
                  </a:lnTo>
                  <a:lnTo>
                    <a:pt x="94" y="1495"/>
                  </a:lnTo>
                  <a:lnTo>
                    <a:pt x="88" y="1495"/>
                  </a:lnTo>
                  <a:lnTo>
                    <a:pt x="94" y="1495"/>
                  </a:lnTo>
                  <a:lnTo>
                    <a:pt x="94" y="1501"/>
                  </a:lnTo>
                  <a:lnTo>
                    <a:pt x="94" y="1506"/>
                  </a:lnTo>
                  <a:lnTo>
                    <a:pt x="99" y="1512"/>
                  </a:lnTo>
                  <a:lnTo>
                    <a:pt x="105" y="1512"/>
                  </a:lnTo>
                  <a:lnTo>
                    <a:pt x="105" y="1523"/>
                  </a:lnTo>
                  <a:lnTo>
                    <a:pt x="110" y="1528"/>
                  </a:lnTo>
                  <a:lnTo>
                    <a:pt x="110" y="1534"/>
                  </a:lnTo>
                  <a:lnTo>
                    <a:pt x="116" y="1534"/>
                  </a:lnTo>
                  <a:lnTo>
                    <a:pt x="121" y="1528"/>
                  </a:lnTo>
                  <a:lnTo>
                    <a:pt x="127" y="1528"/>
                  </a:lnTo>
                  <a:lnTo>
                    <a:pt x="132" y="1528"/>
                  </a:lnTo>
                  <a:lnTo>
                    <a:pt x="138" y="1528"/>
                  </a:lnTo>
                  <a:lnTo>
                    <a:pt x="143" y="1528"/>
                  </a:lnTo>
                  <a:lnTo>
                    <a:pt x="149" y="1528"/>
                  </a:lnTo>
                  <a:lnTo>
                    <a:pt x="143" y="1534"/>
                  </a:lnTo>
                  <a:lnTo>
                    <a:pt x="149" y="1539"/>
                  </a:lnTo>
                  <a:lnTo>
                    <a:pt x="149" y="1545"/>
                  </a:lnTo>
                  <a:lnTo>
                    <a:pt x="143" y="1545"/>
                  </a:lnTo>
                  <a:lnTo>
                    <a:pt x="143" y="1550"/>
                  </a:lnTo>
                  <a:lnTo>
                    <a:pt x="149" y="1556"/>
                  </a:lnTo>
                  <a:lnTo>
                    <a:pt x="143" y="1556"/>
                  </a:lnTo>
                  <a:lnTo>
                    <a:pt x="143" y="1561"/>
                  </a:lnTo>
                  <a:lnTo>
                    <a:pt x="143" y="1567"/>
                  </a:lnTo>
                  <a:lnTo>
                    <a:pt x="143" y="1572"/>
                  </a:lnTo>
                  <a:lnTo>
                    <a:pt x="149" y="1578"/>
                  </a:lnTo>
                  <a:lnTo>
                    <a:pt x="154" y="1578"/>
                  </a:lnTo>
                  <a:lnTo>
                    <a:pt x="160" y="1583"/>
                  </a:lnTo>
                  <a:lnTo>
                    <a:pt x="160" y="1589"/>
                  </a:lnTo>
                  <a:lnTo>
                    <a:pt x="165" y="1589"/>
                  </a:lnTo>
                  <a:lnTo>
                    <a:pt x="248" y="1589"/>
                  </a:lnTo>
                  <a:lnTo>
                    <a:pt x="270" y="1600"/>
                  </a:lnTo>
                  <a:lnTo>
                    <a:pt x="281" y="1600"/>
                  </a:lnTo>
                  <a:lnTo>
                    <a:pt x="292" y="1600"/>
                  </a:lnTo>
                  <a:lnTo>
                    <a:pt x="297" y="1605"/>
                  </a:lnTo>
                  <a:lnTo>
                    <a:pt x="314" y="1605"/>
                  </a:lnTo>
                  <a:lnTo>
                    <a:pt x="314" y="1611"/>
                  </a:lnTo>
                  <a:lnTo>
                    <a:pt x="314" y="1605"/>
                  </a:lnTo>
                  <a:lnTo>
                    <a:pt x="308" y="1605"/>
                  </a:lnTo>
                  <a:lnTo>
                    <a:pt x="303" y="1605"/>
                  </a:lnTo>
                  <a:lnTo>
                    <a:pt x="297" y="1605"/>
                  </a:lnTo>
                  <a:lnTo>
                    <a:pt x="292" y="1605"/>
                  </a:lnTo>
                  <a:lnTo>
                    <a:pt x="286" y="1600"/>
                  </a:lnTo>
                  <a:lnTo>
                    <a:pt x="281" y="1600"/>
                  </a:lnTo>
                  <a:lnTo>
                    <a:pt x="270" y="1600"/>
                  </a:lnTo>
                  <a:lnTo>
                    <a:pt x="270" y="1605"/>
                  </a:lnTo>
                  <a:lnTo>
                    <a:pt x="270" y="1611"/>
                  </a:lnTo>
                  <a:lnTo>
                    <a:pt x="264" y="1611"/>
                  </a:lnTo>
                  <a:lnTo>
                    <a:pt x="259" y="1616"/>
                  </a:lnTo>
                  <a:lnTo>
                    <a:pt x="253" y="1616"/>
                  </a:lnTo>
                  <a:lnTo>
                    <a:pt x="253" y="1611"/>
                  </a:lnTo>
                  <a:lnTo>
                    <a:pt x="248" y="1616"/>
                  </a:lnTo>
                  <a:lnTo>
                    <a:pt x="237" y="1616"/>
                  </a:lnTo>
                  <a:lnTo>
                    <a:pt x="237" y="1622"/>
                  </a:lnTo>
                  <a:lnTo>
                    <a:pt x="231" y="1622"/>
                  </a:lnTo>
                  <a:lnTo>
                    <a:pt x="226" y="1622"/>
                  </a:lnTo>
                  <a:lnTo>
                    <a:pt x="220" y="1622"/>
                  </a:lnTo>
                  <a:lnTo>
                    <a:pt x="226" y="1622"/>
                  </a:lnTo>
                  <a:lnTo>
                    <a:pt x="220" y="1622"/>
                  </a:lnTo>
                  <a:lnTo>
                    <a:pt x="215" y="1622"/>
                  </a:lnTo>
                  <a:lnTo>
                    <a:pt x="209" y="1627"/>
                  </a:lnTo>
                  <a:lnTo>
                    <a:pt x="209" y="1622"/>
                  </a:lnTo>
                  <a:lnTo>
                    <a:pt x="209" y="1627"/>
                  </a:lnTo>
                  <a:lnTo>
                    <a:pt x="215" y="1627"/>
                  </a:lnTo>
                  <a:lnTo>
                    <a:pt x="209" y="1627"/>
                  </a:lnTo>
                  <a:lnTo>
                    <a:pt x="209" y="1633"/>
                  </a:lnTo>
                  <a:lnTo>
                    <a:pt x="209" y="1644"/>
                  </a:lnTo>
                  <a:lnTo>
                    <a:pt x="204" y="1644"/>
                  </a:lnTo>
                  <a:lnTo>
                    <a:pt x="204" y="1649"/>
                  </a:lnTo>
                  <a:lnTo>
                    <a:pt x="204" y="1655"/>
                  </a:lnTo>
                  <a:lnTo>
                    <a:pt x="204" y="1666"/>
                  </a:lnTo>
                  <a:lnTo>
                    <a:pt x="204" y="1671"/>
                  </a:lnTo>
                  <a:lnTo>
                    <a:pt x="198" y="1677"/>
                  </a:lnTo>
                  <a:lnTo>
                    <a:pt x="193" y="1677"/>
                  </a:lnTo>
                  <a:lnTo>
                    <a:pt x="182" y="1677"/>
                  </a:lnTo>
                  <a:lnTo>
                    <a:pt x="171" y="1671"/>
                  </a:lnTo>
                  <a:lnTo>
                    <a:pt x="165" y="1671"/>
                  </a:lnTo>
                  <a:lnTo>
                    <a:pt x="165" y="1666"/>
                  </a:lnTo>
                  <a:lnTo>
                    <a:pt x="160" y="1671"/>
                  </a:lnTo>
                  <a:lnTo>
                    <a:pt x="160" y="1666"/>
                  </a:lnTo>
                  <a:lnTo>
                    <a:pt x="160" y="1671"/>
                  </a:lnTo>
                  <a:lnTo>
                    <a:pt x="154" y="1666"/>
                  </a:lnTo>
                  <a:lnTo>
                    <a:pt x="149" y="1666"/>
                  </a:lnTo>
                  <a:lnTo>
                    <a:pt x="149" y="1660"/>
                  </a:lnTo>
                  <a:lnTo>
                    <a:pt x="143" y="1660"/>
                  </a:lnTo>
                  <a:lnTo>
                    <a:pt x="138" y="1655"/>
                  </a:lnTo>
                  <a:lnTo>
                    <a:pt x="143" y="1655"/>
                  </a:lnTo>
                  <a:lnTo>
                    <a:pt x="143" y="1649"/>
                  </a:lnTo>
                  <a:lnTo>
                    <a:pt x="149" y="1649"/>
                  </a:lnTo>
                  <a:lnTo>
                    <a:pt x="154" y="1649"/>
                  </a:lnTo>
                  <a:lnTo>
                    <a:pt x="154" y="1655"/>
                  </a:lnTo>
                  <a:lnTo>
                    <a:pt x="149" y="1655"/>
                  </a:lnTo>
                  <a:lnTo>
                    <a:pt x="149" y="1660"/>
                  </a:lnTo>
                  <a:lnTo>
                    <a:pt x="154" y="1655"/>
                  </a:lnTo>
                  <a:lnTo>
                    <a:pt x="160" y="1655"/>
                  </a:lnTo>
                  <a:lnTo>
                    <a:pt x="160" y="1649"/>
                  </a:lnTo>
                  <a:lnTo>
                    <a:pt x="165" y="1649"/>
                  </a:lnTo>
                  <a:lnTo>
                    <a:pt x="171" y="1660"/>
                  </a:lnTo>
                  <a:lnTo>
                    <a:pt x="165" y="1660"/>
                  </a:lnTo>
                  <a:lnTo>
                    <a:pt x="160" y="1660"/>
                  </a:lnTo>
                  <a:lnTo>
                    <a:pt x="165" y="1660"/>
                  </a:lnTo>
                  <a:lnTo>
                    <a:pt x="171" y="1660"/>
                  </a:lnTo>
                  <a:lnTo>
                    <a:pt x="171" y="1649"/>
                  </a:lnTo>
                  <a:lnTo>
                    <a:pt x="176" y="1644"/>
                  </a:lnTo>
                  <a:lnTo>
                    <a:pt x="182" y="1644"/>
                  </a:lnTo>
                  <a:lnTo>
                    <a:pt x="187" y="1644"/>
                  </a:lnTo>
                  <a:lnTo>
                    <a:pt x="187" y="1638"/>
                  </a:lnTo>
                  <a:lnTo>
                    <a:pt x="193" y="1638"/>
                  </a:lnTo>
                  <a:lnTo>
                    <a:pt x="193" y="1633"/>
                  </a:lnTo>
                  <a:lnTo>
                    <a:pt x="198" y="1633"/>
                  </a:lnTo>
                  <a:lnTo>
                    <a:pt x="198" y="1627"/>
                  </a:lnTo>
                  <a:lnTo>
                    <a:pt x="193" y="1627"/>
                  </a:lnTo>
                  <a:lnTo>
                    <a:pt x="187" y="1627"/>
                  </a:lnTo>
                  <a:lnTo>
                    <a:pt x="182" y="1627"/>
                  </a:lnTo>
                  <a:lnTo>
                    <a:pt x="165" y="1633"/>
                  </a:lnTo>
                  <a:lnTo>
                    <a:pt x="165" y="1638"/>
                  </a:lnTo>
                  <a:lnTo>
                    <a:pt x="160" y="1638"/>
                  </a:lnTo>
                  <a:lnTo>
                    <a:pt x="160" y="1644"/>
                  </a:lnTo>
                  <a:lnTo>
                    <a:pt x="154" y="1644"/>
                  </a:lnTo>
                  <a:lnTo>
                    <a:pt x="149" y="1638"/>
                  </a:lnTo>
                  <a:lnTo>
                    <a:pt x="143" y="1638"/>
                  </a:lnTo>
                  <a:lnTo>
                    <a:pt x="138" y="1638"/>
                  </a:lnTo>
                  <a:lnTo>
                    <a:pt x="143" y="1638"/>
                  </a:lnTo>
                  <a:lnTo>
                    <a:pt x="143" y="1644"/>
                  </a:lnTo>
                  <a:lnTo>
                    <a:pt x="149" y="1644"/>
                  </a:lnTo>
                  <a:lnTo>
                    <a:pt x="149" y="1649"/>
                  </a:lnTo>
                  <a:lnTo>
                    <a:pt x="149" y="1644"/>
                  </a:lnTo>
                  <a:lnTo>
                    <a:pt x="143" y="1644"/>
                  </a:lnTo>
                  <a:lnTo>
                    <a:pt x="143" y="1649"/>
                  </a:lnTo>
                  <a:lnTo>
                    <a:pt x="138" y="1644"/>
                  </a:lnTo>
                  <a:lnTo>
                    <a:pt x="143" y="1649"/>
                  </a:lnTo>
                  <a:lnTo>
                    <a:pt x="138" y="1644"/>
                  </a:lnTo>
                  <a:lnTo>
                    <a:pt x="138" y="1649"/>
                  </a:lnTo>
                  <a:lnTo>
                    <a:pt x="143" y="1649"/>
                  </a:lnTo>
                  <a:lnTo>
                    <a:pt x="138" y="1649"/>
                  </a:lnTo>
                  <a:lnTo>
                    <a:pt x="138" y="1655"/>
                  </a:lnTo>
                  <a:lnTo>
                    <a:pt x="132" y="1655"/>
                  </a:lnTo>
                  <a:lnTo>
                    <a:pt x="132" y="1649"/>
                  </a:lnTo>
                  <a:lnTo>
                    <a:pt x="132" y="1655"/>
                  </a:lnTo>
                  <a:lnTo>
                    <a:pt x="138" y="1655"/>
                  </a:lnTo>
                  <a:lnTo>
                    <a:pt x="143" y="1660"/>
                  </a:lnTo>
                  <a:lnTo>
                    <a:pt x="138" y="1660"/>
                  </a:lnTo>
                  <a:lnTo>
                    <a:pt x="132" y="1660"/>
                  </a:lnTo>
                  <a:lnTo>
                    <a:pt x="127" y="1660"/>
                  </a:lnTo>
                  <a:lnTo>
                    <a:pt x="127" y="1655"/>
                  </a:lnTo>
                  <a:lnTo>
                    <a:pt x="127" y="1660"/>
                  </a:lnTo>
                  <a:lnTo>
                    <a:pt x="127" y="1655"/>
                  </a:lnTo>
                  <a:lnTo>
                    <a:pt x="121" y="1655"/>
                  </a:lnTo>
                  <a:lnTo>
                    <a:pt x="110" y="1649"/>
                  </a:lnTo>
                  <a:lnTo>
                    <a:pt x="105" y="1649"/>
                  </a:lnTo>
                  <a:lnTo>
                    <a:pt x="105" y="1644"/>
                  </a:lnTo>
                  <a:lnTo>
                    <a:pt x="110" y="1644"/>
                  </a:lnTo>
                  <a:lnTo>
                    <a:pt x="121" y="1644"/>
                  </a:lnTo>
                  <a:lnTo>
                    <a:pt x="127" y="1649"/>
                  </a:lnTo>
                  <a:lnTo>
                    <a:pt x="127" y="1644"/>
                  </a:lnTo>
                  <a:lnTo>
                    <a:pt x="132" y="1644"/>
                  </a:lnTo>
                  <a:lnTo>
                    <a:pt x="127" y="1644"/>
                  </a:lnTo>
                  <a:lnTo>
                    <a:pt x="127" y="1638"/>
                  </a:lnTo>
                  <a:lnTo>
                    <a:pt x="127" y="1644"/>
                  </a:lnTo>
                  <a:lnTo>
                    <a:pt x="121" y="1644"/>
                  </a:lnTo>
                  <a:lnTo>
                    <a:pt x="121" y="1638"/>
                  </a:lnTo>
                  <a:lnTo>
                    <a:pt x="121" y="1633"/>
                  </a:lnTo>
                  <a:lnTo>
                    <a:pt x="116" y="1627"/>
                  </a:lnTo>
                  <a:lnTo>
                    <a:pt x="127" y="1627"/>
                  </a:lnTo>
                  <a:lnTo>
                    <a:pt x="127" y="1622"/>
                  </a:lnTo>
                  <a:lnTo>
                    <a:pt x="132" y="1627"/>
                  </a:lnTo>
                  <a:lnTo>
                    <a:pt x="127" y="1627"/>
                  </a:lnTo>
                  <a:lnTo>
                    <a:pt x="132" y="1627"/>
                  </a:lnTo>
                  <a:lnTo>
                    <a:pt x="138" y="1627"/>
                  </a:lnTo>
                  <a:lnTo>
                    <a:pt x="143" y="1627"/>
                  </a:lnTo>
                  <a:lnTo>
                    <a:pt x="149" y="1627"/>
                  </a:lnTo>
                  <a:lnTo>
                    <a:pt x="149" y="1622"/>
                  </a:lnTo>
                  <a:lnTo>
                    <a:pt x="154" y="1622"/>
                  </a:lnTo>
                  <a:lnTo>
                    <a:pt x="160" y="1622"/>
                  </a:lnTo>
                  <a:lnTo>
                    <a:pt x="165" y="1622"/>
                  </a:lnTo>
                  <a:lnTo>
                    <a:pt x="171" y="1622"/>
                  </a:lnTo>
                  <a:lnTo>
                    <a:pt x="176" y="1622"/>
                  </a:lnTo>
                  <a:lnTo>
                    <a:pt x="182" y="1622"/>
                  </a:lnTo>
                  <a:lnTo>
                    <a:pt x="182" y="1616"/>
                  </a:lnTo>
                  <a:lnTo>
                    <a:pt x="176" y="1616"/>
                  </a:lnTo>
                  <a:lnTo>
                    <a:pt x="165" y="1616"/>
                  </a:lnTo>
                  <a:lnTo>
                    <a:pt x="160" y="1616"/>
                  </a:lnTo>
                  <a:lnTo>
                    <a:pt x="154" y="1616"/>
                  </a:lnTo>
                  <a:lnTo>
                    <a:pt x="143" y="1616"/>
                  </a:lnTo>
                  <a:lnTo>
                    <a:pt x="143" y="1622"/>
                  </a:lnTo>
                  <a:lnTo>
                    <a:pt x="138" y="1616"/>
                  </a:lnTo>
                  <a:lnTo>
                    <a:pt x="143" y="1616"/>
                  </a:lnTo>
                  <a:lnTo>
                    <a:pt x="143" y="1611"/>
                  </a:lnTo>
                  <a:lnTo>
                    <a:pt x="138" y="1616"/>
                  </a:lnTo>
                  <a:lnTo>
                    <a:pt x="132" y="1616"/>
                  </a:lnTo>
                  <a:lnTo>
                    <a:pt x="127" y="1616"/>
                  </a:lnTo>
                  <a:lnTo>
                    <a:pt x="121" y="1611"/>
                  </a:lnTo>
                  <a:lnTo>
                    <a:pt x="121" y="1622"/>
                  </a:lnTo>
                  <a:lnTo>
                    <a:pt x="116" y="1622"/>
                  </a:lnTo>
                  <a:lnTo>
                    <a:pt x="121" y="1622"/>
                  </a:lnTo>
                  <a:lnTo>
                    <a:pt x="127" y="1616"/>
                  </a:lnTo>
                  <a:lnTo>
                    <a:pt x="127" y="1622"/>
                  </a:lnTo>
                  <a:lnTo>
                    <a:pt x="132" y="1622"/>
                  </a:lnTo>
                  <a:lnTo>
                    <a:pt x="127" y="1627"/>
                  </a:lnTo>
                  <a:lnTo>
                    <a:pt x="121" y="1627"/>
                  </a:lnTo>
                  <a:lnTo>
                    <a:pt x="116" y="1627"/>
                  </a:lnTo>
                  <a:lnTo>
                    <a:pt x="121" y="1633"/>
                  </a:lnTo>
                  <a:lnTo>
                    <a:pt x="116" y="1633"/>
                  </a:lnTo>
                  <a:lnTo>
                    <a:pt x="121" y="1638"/>
                  </a:lnTo>
                  <a:lnTo>
                    <a:pt x="116" y="1638"/>
                  </a:lnTo>
                  <a:lnTo>
                    <a:pt x="110" y="1638"/>
                  </a:lnTo>
                  <a:lnTo>
                    <a:pt x="105" y="1638"/>
                  </a:lnTo>
                  <a:lnTo>
                    <a:pt x="110" y="1638"/>
                  </a:lnTo>
                  <a:lnTo>
                    <a:pt x="105" y="1638"/>
                  </a:lnTo>
                  <a:lnTo>
                    <a:pt x="99" y="1638"/>
                  </a:lnTo>
                  <a:lnTo>
                    <a:pt x="94" y="1638"/>
                  </a:lnTo>
                  <a:lnTo>
                    <a:pt x="99" y="1638"/>
                  </a:lnTo>
                  <a:lnTo>
                    <a:pt x="99" y="1633"/>
                  </a:lnTo>
                  <a:lnTo>
                    <a:pt x="105" y="1633"/>
                  </a:lnTo>
                  <a:lnTo>
                    <a:pt x="110" y="1633"/>
                  </a:lnTo>
                  <a:lnTo>
                    <a:pt x="105" y="1633"/>
                  </a:lnTo>
                  <a:lnTo>
                    <a:pt x="105" y="1627"/>
                  </a:lnTo>
                  <a:lnTo>
                    <a:pt x="99" y="1633"/>
                  </a:lnTo>
                  <a:lnTo>
                    <a:pt x="99" y="1627"/>
                  </a:lnTo>
                  <a:lnTo>
                    <a:pt x="94" y="1627"/>
                  </a:lnTo>
                  <a:lnTo>
                    <a:pt x="88" y="1627"/>
                  </a:lnTo>
                  <a:lnTo>
                    <a:pt x="94" y="1627"/>
                  </a:lnTo>
                  <a:lnTo>
                    <a:pt x="99" y="1627"/>
                  </a:lnTo>
                  <a:lnTo>
                    <a:pt x="105" y="1627"/>
                  </a:lnTo>
                  <a:lnTo>
                    <a:pt x="105" y="1622"/>
                  </a:lnTo>
                  <a:lnTo>
                    <a:pt x="110" y="1622"/>
                  </a:lnTo>
                  <a:lnTo>
                    <a:pt x="110" y="1616"/>
                  </a:lnTo>
                  <a:lnTo>
                    <a:pt x="116" y="1616"/>
                  </a:lnTo>
                  <a:lnTo>
                    <a:pt x="110" y="1616"/>
                  </a:lnTo>
                  <a:lnTo>
                    <a:pt x="116" y="1611"/>
                  </a:lnTo>
                  <a:lnTo>
                    <a:pt x="121" y="1616"/>
                  </a:lnTo>
                  <a:lnTo>
                    <a:pt x="121" y="1611"/>
                  </a:lnTo>
                  <a:lnTo>
                    <a:pt x="110" y="1611"/>
                  </a:lnTo>
                  <a:lnTo>
                    <a:pt x="105" y="1611"/>
                  </a:lnTo>
                  <a:lnTo>
                    <a:pt x="110" y="1611"/>
                  </a:lnTo>
                  <a:lnTo>
                    <a:pt x="110" y="1616"/>
                  </a:lnTo>
                  <a:lnTo>
                    <a:pt x="105" y="1622"/>
                  </a:lnTo>
                  <a:lnTo>
                    <a:pt x="99" y="1622"/>
                  </a:lnTo>
                  <a:lnTo>
                    <a:pt x="105" y="1616"/>
                  </a:lnTo>
                  <a:lnTo>
                    <a:pt x="99" y="1616"/>
                  </a:lnTo>
                  <a:lnTo>
                    <a:pt x="99" y="1622"/>
                  </a:lnTo>
                  <a:lnTo>
                    <a:pt x="94" y="1622"/>
                  </a:lnTo>
                  <a:lnTo>
                    <a:pt x="88" y="1627"/>
                  </a:lnTo>
                  <a:lnTo>
                    <a:pt x="88" y="1622"/>
                  </a:lnTo>
                  <a:lnTo>
                    <a:pt x="88" y="1616"/>
                  </a:lnTo>
                  <a:lnTo>
                    <a:pt x="94" y="1616"/>
                  </a:lnTo>
                  <a:lnTo>
                    <a:pt x="88" y="1616"/>
                  </a:lnTo>
                  <a:lnTo>
                    <a:pt x="88" y="1611"/>
                  </a:lnTo>
                  <a:lnTo>
                    <a:pt x="94" y="1611"/>
                  </a:lnTo>
                  <a:lnTo>
                    <a:pt x="88" y="1611"/>
                  </a:lnTo>
                  <a:lnTo>
                    <a:pt x="88" y="1605"/>
                  </a:lnTo>
                  <a:lnTo>
                    <a:pt x="88" y="1611"/>
                  </a:lnTo>
                  <a:lnTo>
                    <a:pt x="88" y="1605"/>
                  </a:lnTo>
                  <a:lnTo>
                    <a:pt x="88" y="1600"/>
                  </a:lnTo>
                  <a:lnTo>
                    <a:pt x="83" y="1594"/>
                  </a:lnTo>
                  <a:lnTo>
                    <a:pt x="88" y="1594"/>
                  </a:lnTo>
                  <a:lnTo>
                    <a:pt x="88" y="1600"/>
                  </a:lnTo>
                  <a:lnTo>
                    <a:pt x="94" y="1600"/>
                  </a:lnTo>
                  <a:lnTo>
                    <a:pt x="94" y="1594"/>
                  </a:lnTo>
                  <a:lnTo>
                    <a:pt x="105" y="1600"/>
                  </a:lnTo>
                  <a:lnTo>
                    <a:pt x="105" y="1594"/>
                  </a:lnTo>
                  <a:lnTo>
                    <a:pt x="110" y="1594"/>
                  </a:lnTo>
                  <a:lnTo>
                    <a:pt x="116" y="1594"/>
                  </a:lnTo>
                  <a:lnTo>
                    <a:pt x="116" y="1600"/>
                  </a:lnTo>
                  <a:lnTo>
                    <a:pt x="110" y="1600"/>
                  </a:lnTo>
                  <a:lnTo>
                    <a:pt x="116" y="1600"/>
                  </a:lnTo>
                  <a:lnTo>
                    <a:pt x="121" y="1600"/>
                  </a:lnTo>
                  <a:lnTo>
                    <a:pt x="121" y="1605"/>
                  </a:lnTo>
                  <a:lnTo>
                    <a:pt x="121" y="1600"/>
                  </a:lnTo>
                  <a:lnTo>
                    <a:pt x="127" y="1594"/>
                  </a:lnTo>
                  <a:lnTo>
                    <a:pt x="121" y="1600"/>
                  </a:lnTo>
                  <a:lnTo>
                    <a:pt x="121" y="1594"/>
                  </a:lnTo>
                  <a:lnTo>
                    <a:pt x="121" y="1589"/>
                  </a:lnTo>
                  <a:lnTo>
                    <a:pt x="127" y="1589"/>
                  </a:lnTo>
                  <a:lnTo>
                    <a:pt x="127" y="1594"/>
                  </a:lnTo>
                  <a:lnTo>
                    <a:pt x="132" y="1594"/>
                  </a:lnTo>
                  <a:lnTo>
                    <a:pt x="138" y="1600"/>
                  </a:lnTo>
                  <a:lnTo>
                    <a:pt x="132" y="1605"/>
                  </a:lnTo>
                  <a:lnTo>
                    <a:pt x="127" y="1605"/>
                  </a:lnTo>
                  <a:lnTo>
                    <a:pt x="127" y="1611"/>
                  </a:lnTo>
                  <a:lnTo>
                    <a:pt x="127" y="1605"/>
                  </a:lnTo>
                  <a:lnTo>
                    <a:pt x="127" y="1611"/>
                  </a:lnTo>
                  <a:lnTo>
                    <a:pt x="121" y="1611"/>
                  </a:lnTo>
                  <a:lnTo>
                    <a:pt x="127" y="1611"/>
                  </a:lnTo>
                  <a:lnTo>
                    <a:pt x="132" y="1611"/>
                  </a:lnTo>
                  <a:lnTo>
                    <a:pt x="138" y="1611"/>
                  </a:lnTo>
                  <a:lnTo>
                    <a:pt x="132" y="1611"/>
                  </a:lnTo>
                  <a:lnTo>
                    <a:pt x="138" y="1605"/>
                  </a:lnTo>
                  <a:lnTo>
                    <a:pt x="138" y="1600"/>
                  </a:lnTo>
                  <a:lnTo>
                    <a:pt x="132" y="1594"/>
                  </a:lnTo>
                  <a:lnTo>
                    <a:pt x="132" y="1589"/>
                  </a:lnTo>
                  <a:lnTo>
                    <a:pt x="138" y="1589"/>
                  </a:lnTo>
                  <a:lnTo>
                    <a:pt x="138" y="1583"/>
                  </a:lnTo>
                  <a:lnTo>
                    <a:pt x="138" y="1578"/>
                  </a:lnTo>
                  <a:lnTo>
                    <a:pt x="132" y="1572"/>
                  </a:lnTo>
                  <a:lnTo>
                    <a:pt x="127" y="1572"/>
                  </a:lnTo>
                  <a:lnTo>
                    <a:pt x="121" y="1572"/>
                  </a:lnTo>
                  <a:lnTo>
                    <a:pt x="121" y="1567"/>
                  </a:lnTo>
                  <a:lnTo>
                    <a:pt x="116" y="1567"/>
                  </a:lnTo>
                  <a:lnTo>
                    <a:pt x="110" y="1567"/>
                  </a:lnTo>
                  <a:lnTo>
                    <a:pt x="110" y="1561"/>
                  </a:lnTo>
                  <a:lnTo>
                    <a:pt x="110" y="1567"/>
                  </a:lnTo>
                  <a:lnTo>
                    <a:pt x="105" y="1567"/>
                  </a:lnTo>
                  <a:lnTo>
                    <a:pt x="110" y="1567"/>
                  </a:lnTo>
                  <a:lnTo>
                    <a:pt x="116" y="1567"/>
                  </a:lnTo>
                  <a:lnTo>
                    <a:pt x="110" y="1572"/>
                  </a:lnTo>
                  <a:lnTo>
                    <a:pt x="116" y="1567"/>
                  </a:lnTo>
                  <a:lnTo>
                    <a:pt x="121" y="1572"/>
                  </a:lnTo>
                  <a:lnTo>
                    <a:pt x="127" y="1572"/>
                  </a:lnTo>
                  <a:lnTo>
                    <a:pt x="127" y="1578"/>
                  </a:lnTo>
                  <a:lnTo>
                    <a:pt x="138" y="1578"/>
                  </a:lnTo>
                  <a:lnTo>
                    <a:pt x="132" y="1583"/>
                  </a:lnTo>
                  <a:lnTo>
                    <a:pt x="127" y="1583"/>
                  </a:lnTo>
                  <a:lnTo>
                    <a:pt x="121" y="1578"/>
                  </a:lnTo>
                  <a:lnTo>
                    <a:pt x="121" y="1583"/>
                  </a:lnTo>
                  <a:lnTo>
                    <a:pt x="121" y="1578"/>
                  </a:lnTo>
                  <a:lnTo>
                    <a:pt x="116" y="1578"/>
                  </a:lnTo>
                  <a:lnTo>
                    <a:pt x="110" y="1578"/>
                  </a:lnTo>
                  <a:lnTo>
                    <a:pt x="110" y="1572"/>
                  </a:lnTo>
                  <a:lnTo>
                    <a:pt x="105" y="1572"/>
                  </a:lnTo>
                  <a:lnTo>
                    <a:pt x="105" y="1578"/>
                  </a:lnTo>
                  <a:lnTo>
                    <a:pt x="110" y="1578"/>
                  </a:lnTo>
                  <a:lnTo>
                    <a:pt x="116" y="1583"/>
                  </a:lnTo>
                  <a:lnTo>
                    <a:pt x="116" y="1578"/>
                  </a:lnTo>
                  <a:lnTo>
                    <a:pt x="110" y="1578"/>
                  </a:lnTo>
                  <a:lnTo>
                    <a:pt x="116" y="1583"/>
                  </a:lnTo>
                  <a:lnTo>
                    <a:pt x="110" y="1583"/>
                  </a:lnTo>
                  <a:lnTo>
                    <a:pt x="105" y="1583"/>
                  </a:lnTo>
                  <a:lnTo>
                    <a:pt x="110" y="1583"/>
                  </a:lnTo>
                  <a:lnTo>
                    <a:pt x="116" y="1583"/>
                  </a:lnTo>
                  <a:lnTo>
                    <a:pt x="121" y="1583"/>
                  </a:lnTo>
                  <a:lnTo>
                    <a:pt x="110" y="1589"/>
                  </a:lnTo>
                  <a:lnTo>
                    <a:pt x="110" y="1594"/>
                  </a:lnTo>
                  <a:lnTo>
                    <a:pt x="105" y="1594"/>
                  </a:lnTo>
                  <a:lnTo>
                    <a:pt x="105" y="1589"/>
                  </a:lnTo>
                  <a:lnTo>
                    <a:pt x="105" y="1583"/>
                  </a:lnTo>
                  <a:lnTo>
                    <a:pt x="105" y="1578"/>
                  </a:lnTo>
                  <a:lnTo>
                    <a:pt x="99" y="1572"/>
                  </a:lnTo>
                  <a:lnTo>
                    <a:pt x="99" y="1578"/>
                  </a:lnTo>
                  <a:lnTo>
                    <a:pt x="105" y="1594"/>
                  </a:lnTo>
                  <a:lnTo>
                    <a:pt x="105" y="1600"/>
                  </a:lnTo>
                  <a:lnTo>
                    <a:pt x="99" y="1594"/>
                  </a:lnTo>
                  <a:lnTo>
                    <a:pt x="94" y="1594"/>
                  </a:lnTo>
                  <a:lnTo>
                    <a:pt x="88" y="1589"/>
                  </a:lnTo>
                  <a:lnTo>
                    <a:pt x="88" y="1583"/>
                  </a:lnTo>
                  <a:lnTo>
                    <a:pt x="94" y="1583"/>
                  </a:lnTo>
                  <a:lnTo>
                    <a:pt x="94" y="1589"/>
                  </a:lnTo>
                  <a:lnTo>
                    <a:pt x="99" y="1589"/>
                  </a:lnTo>
                  <a:lnTo>
                    <a:pt x="94" y="1589"/>
                  </a:lnTo>
                  <a:lnTo>
                    <a:pt x="94" y="1583"/>
                  </a:lnTo>
                  <a:lnTo>
                    <a:pt x="88" y="1583"/>
                  </a:lnTo>
                  <a:lnTo>
                    <a:pt x="88" y="1578"/>
                  </a:lnTo>
                  <a:lnTo>
                    <a:pt x="94" y="1578"/>
                  </a:lnTo>
                  <a:lnTo>
                    <a:pt x="88" y="1578"/>
                  </a:lnTo>
                  <a:lnTo>
                    <a:pt x="83" y="1583"/>
                  </a:lnTo>
                  <a:lnTo>
                    <a:pt x="83" y="1578"/>
                  </a:lnTo>
                  <a:lnTo>
                    <a:pt x="83" y="1572"/>
                  </a:lnTo>
                  <a:lnTo>
                    <a:pt x="77" y="1572"/>
                  </a:lnTo>
                  <a:lnTo>
                    <a:pt x="83" y="1567"/>
                  </a:lnTo>
                  <a:lnTo>
                    <a:pt x="77" y="1567"/>
                  </a:lnTo>
                  <a:lnTo>
                    <a:pt x="72" y="1561"/>
                  </a:lnTo>
                  <a:lnTo>
                    <a:pt x="77" y="1561"/>
                  </a:lnTo>
                  <a:lnTo>
                    <a:pt x="83" y="1561"/>
                  </a:lnTo>
                  <a:lnTo>
                    <a:pt x="83" y="1567"/>
                  </a:lnTo>
                  <a:lnTo>
                    <a:pt x="88" y="1572"/>
                  </a:lnTo>
                  <a:lnTo>
                    <a:pt x="88" y="1567"/>
                  </a:lnTo>
                  <a:lnTo>
                    <a:pt x="88" y="1561"/>
                  </a:lnTo>
                  <a:lnTo>
                    <a:pt x="83" y="1561"/>
                  </a:lnTo>
                  <a:lnTo>
                    <a:pt x="83" y="1556"/>
                  </a:lnTo>
                  <a:lnTo>
                    <a:pt x="88" y="1556"/>
                  </a:lnTo>
                  <a:lnTo>
                    <a:pt x="83" y="1556"/>
                  </a:lnTo>
                  <a:lnTo>
                    <a:pt x="88" y="1550"/>
                  </a:lnTo>
                  <a:lnTo>
                    <a:pt x="83" y="1556"/>
                  </a:lnTo>
                  <a:lnTo>
                    <a:pt x="83" y="1550"/>
                  </a:lnTo>
                  <a:lnTo>
                    <a:pt x="77" y="1556"/>
                  </a:lnTo>
                  <a:lnTo>
                    <a:pt x="72" y="1550"/>
                  </a:lnTo>
                  <a:lnTo>
                    <a:pt x="72" y="1556"/>
                  </a:lnTo>
                  <a:lnTo>
                    <a:pt x="66" y="1556"/>
                  </a:lnTo>
                  <a:lnTo>
                    <a:pt x="66" y="1550"/>
                  </a:lnTo>
                  <a:lnTo>
                    <a:pt x="66" y="1545"/>
                  </a:lnTo>
                  <a:lnTo>
                    <a:pt x="66" y="1539"/>
                  </a:lnTo>
                  <a:lnTo>
                    <a:pt x="66" y="1545"/>
                  </a:lnTo>
                  <a:lnTo>
                    <a:pt x="61" y="1545"/>
                  </a:lnTo>
                  <a:lnTo>
                    <a:pt x="61" y="1539"/>
                  </a:lnTo>
                  <a:lnTo>
                    <a:pt x="66" y="1539"/>
                  </a:lnTo>
                  <a:lnTo>
                    <a:pt x="72" y="1539"/>
                  </a:lnTo>
                  <a:lnTo>
                    <a:pt x="77" y="1539"/>
                  </a:lnTo>
                  <a:lnTo>
                    <a:pt x="83" y="1545"/>
                  </a:lnTo>
                  <a:lnTo>
                    <a:pt x="83" y="1539"/>
                  </a:lnTo>
                  <a:lnTo>
                    <a:pt x="77" y="1539"/>
                  </a:lnTo>
                  <a:lnTo>
                    <a:pt x="77" y="1534"/>
                  </a:lnTo>
                  <a:lnTo>
                    <a:pt x="83" y="1534"/>
                  </a:lnTo>
                  <a:lnTo>
                    <a:pt x="83" y="1528"/>
                  </a:lnTo>
                  <a:lnTo>
                    <a:pt x="88" y="1528"/>
                  </a:lnTo>
                  <a:lnTo>
                    <a:pt x="94" y="1534"/>
                  </a:lnTo>
                  <a:lnTo>
                    <a:pt x="94" y="1528"/>
                  </a:lnTo>
                  <a:lnTo>
                    <a:pt x="88" y="1528"/>
                  </a:lnTo>
                  <a:lnTo>
                    <a:pt x="83" y="1523"/>
                  </a:lnTo>
                  <a:lnTo>
                    <a:pt x="88" y="1523"/>
                  </a:lnTo>
                  <a:lnTo>
                    <a:pt x="88" y="1517"/>
                  </a:lnTo>
                  <a:lnTo>
                    <a:pt x="88" y="1523"/>
                  </a:lnTo>
                  <a:lnTo>
                    <a:pt x="83" y="1523"/>
                  </a:lnTo>
                  <a:lnTo>
                    <a:pt x="83" y="1528"/>
                  </a:lnTo>
                  <a:lnTo>
                    <a:pt x="77" y="1528"/>
                  </a:lnTo>
                  <a:lnTo>
                    <a:pt x="83" y="1534"/>
                  </a:lnTo>
                  <a:lnTo>
                    <a:pt x="77" y="1534"/>
                  </a:lnTo>
                  <a:lnTo>
                    <a:pt x="72" y="1534"/>
                  </a:lnTo>
                  <a:lnTo>
                    <a:pt x="66" y="1534"/>
                  </a:lnTo>
                  <a:lnTo>
                    <a:pt x="66" y="1528"/>
                  </a:lnTo>
                  <a:lnTo>
                    <a:pt x="66" y="1534"/>
                  </a:lnTo>
                  <a:lnTo>
                    <a:pt x="61" y="1528"/>
                  </a:lnTo>
                  <a:lnTo>
                    <a:pt x="66" y="1523"/>
                  </a:lnTo>
                  <a:lnTo>
                    <a:pt x="61" y="1523"/>
                  </a:lnTo>
                  <a:lnTo>
                    <a:pt x="61" y="1517"/>
                  </a:lnTo>
                  <a:lnTo>
                    <a:pt x="66" y="1523"/>
                  </a:lnTo>
                  <a:lnTo>
                    <a:pt x="72" y="1523"/>
                  </a:lnTo>
                  <a:lnTo>
                    <a:pt x="77" y="1523"/>
                  </a:lnTo>
                  <a:lnTo>
                    <a:pt x="72" y="1523"/>
                  </a:lnTo>
                  <a:lnTo>
                    <a:pt x="72" y="1517"/>
                  </a:lnTo>
                  <a:lnTo>
                    <a:pt x="66" y="1523"/>
                  </a:lnTo>
                  <a:lnTo>
                    <a:pt x="66" y="1517"/>
                  </a:lnTo>
                  <a:lnTo>
                    <a:pt x="72" y="1517"/>
                  </a:lnTo>
                  <a:lnTo>
                    <a:pt x="66" y="1517"/>
                  </a:lnTo>
                  <a:lnTo>
                    <a:pt x="61" y="1517"/>
                  </a:lnTo>
                  <a:lnTo>
                    <a:pt x="61" y="1512"/>
                  </a:lnTo>
                  <a:lnTo>
                    <a:pt x="55" y="1517"/>
                  </a:lnTo>
                  <a:lnTo>
                    <a:pt x="50" y="1512"/>
                  </a:lnTo>
                  <a:lnTo>
                    <a:pt x="50" y="1506"/>
                  </a:lnTo>
                  <a:lnTo>
                    <a:pt x="44" y="1512"/>
                  </a:lnTo>
                  <a:lnTo>
                    <a:pt x="44" y="1506"/>
                  </a:lnTo>
                  <a:lnTo>
                    <a:pt x="50" y="1501"/>
                  </a:lnTo>
                  <a:lnTo>
                    <a:pt x="50" y="1506"/>
                  </a:lnTo>
                  <a:lnTo>
                    <a:pt x="50" y="1501"/>
                  </a:lnTo>
                  <a:lnTo>
                    <a:pt x="55" y="1501"/>
                  </a:lnTo>
                  <a:lnTo>
                    <a:pt x="61" y="1506"/>
                  </a:lnTo>
                  <a:lnTo>
                    <a:pt x="55" y="1506"/>
                  </a:lnTo>
                  <a:lnTo>
                    <a:pt x="61" y="1506"/>
                  </a:lnTo>
                  <a:lnTo>
                    <a:pt x="66" y="1506"/>
                  </a:lnTo>
                  <a:lnTo>
                    <a:pt x="66" y="1512"/>
                  </a:lnTo>
                  <a:lnTo>
                    <a:pt x="66" y="1506"/>
                  </a:lnTo>
                  <a:lnTo>
                    <a:pt x="72" y="1512"/>
                  </a:lnTo>
                  <a:lnTo>
                    <a:pt x="77" y="1512"/>
                  </a:lnTo>
                  <a:lnTo>
                    <a:pt x="72" y="1506"/>
                  </a:lnTo>
                  <a:lnTo>
                    <a:pt x="66" y="1506"/>
                  </a:lnTo>
                  <a:lnTo>
                    <a:pt x="61" y="1506"/>
                  </a:lnTo>
                  <a:lnTo>
                    <a:pt x="61" y="1501"/>
                  </a:lnTo>
                  <a:lnTo>
                    <a:pt x="55" y="1495"/>
                  </a:lnTo>
                  <a:lnTo>
                    <a:pt x="61" y="1495"/>
                  </a:lnTo>
                  <a:lnTo>
                    <a:pt x="66" y="1495"/>
                  </a:lnTo>
                  <a:lnTo>
                    <a:pt x="66" y="1501"/>
                  </a:lnTo>
                  <a:lnTo>
                    <a:pt x="66" y="1495"/>
                  </a:lnTo>
                  <a:lnTo>
                    <a:pt x="66" y="1501"/>
                  </a:lnTo>
                  <a:lnTo>
                    <a:pt x="72" y="1501"/>
                  </a:lnTo>
                  <a:lnTo>
                    <a:pt x="77" y="1501"/>
                  </a:lnTo>
                  <a:lnTo>
                    <a:pt x="72" y="1501"/>
                  </a:lnTo>
                  <a:lnTo>
                    <a:pt x="72" y="1495"/>
                  </a:lnTo>
                  <a:lnTo>
                    <a:pt x="77" y="1495"/>
                  </a:lnTo>
                  <a:lnTo>
                    <a:pt x="77" y="1490"/>
                  </a:lnTo>
                  <a:lnTo>
                    <a:pt x="72" y="1495"/>
                  </a:lnTo>
                  <a:lnTo>
                    <a:pt x="66" y="1495"/>
                  </a:lnTo>
                  <a:lnTo>
                    <a:pt x="61" y="1495"/>
                  </a:lnTo>
                  <a:lnTo>
                    <a:pt x="55" y="1490"/>
                  </a:lnTo>
                  <a:lnTo>
                    <a:pt x="61" y="1490"/>
                  </a:lnTo>
                  <a:lnTo>
                    <a:pt x="66" y="1484"/>
                  </a:lnTo>
                  <a:lnTo>
                    <a:pt x="61" y="1484"/>
                  </a:lnTo>
                  <a:lnTo>
                    <a:pt x="55" y="1484"/>
                  </a:lnTo>
                  <a:lnTo>
                    <a:pt x="61" y="1479"/>
                  </a:lnTo>
                  <a:lnTo>
                    <a:pt x="66" y="1479"/>
                  </a:lnTo>
                  <a:lnTo>
                    <a:pt x="72" y="1479"/>
                  </a:lnTo>
                  <a:lnTo>
                    <a:pt x="77" y="1484"/>
                  </a:lnTo>
                  <a:lnTo>
                    <a:pt x="83" y="1484"/>
                  </a:lnTo>
                  <a:lnTo>
                    <a:pt x="83" y="1490"/>
                  </a:lnTo>
                  <a:lnTo>
                    <a:pt x="88" y="1484"/>
                  </a:lnTo>
                  <a:lnTo>
                    <a:pt x="83" y="1484"/>
                  </a:lnTo>
                  <a:lnTo>
                    <a:pt x="77" y="1484"/>
                  </a:lnTo>
                  <a:lnTo>
                    <a:pt x="77" y="1473"/>
                  </a:lnTo>
                  <a:lnTo>
                    <a:pt x="72" y="1473"/>
                  </a:lnTo>
                  <a:lnTo>
                    <a:pt x="66" y="1473"/>
                  </a:lnTo>
                  <a:lnTo>
                    <a:pt x="66" y="1468"/>
                  </a:lnTo>
                  <a:lnTo>
                    <a:pt x="72" y="1462"/>
                  </a:lnTo>
                  <a:lnTo>
                    <a:pt x="72" y="1468"/>
                  </a:lnTo>
                  <a:lnTo>
                    <a:pt x="77" y="1468"/>
                  </a:lnTo>
                  <a:lnTo>
                    <a:pt x="72" y="1468"/>
                  </a:lnTo>
                  <a:lnTo>
                    <a:pt x="72" y="1462"/>
                  </a:lnTo>
                  <a:lnTo>
                    <a:pt x="72" y="1457"/>
                  </a:lnTo>
                  <a:lnTo>
                    <a:pt x="72" y="1451"/>
                  </a:lnTo>
                  <a:lnTo>
                    <a:pt x="77" y="1451"/>
                  </a:lnTo>
                  <a:lnTo>
                    <a:pt x="77" y="1457"/>
                  </a:lnTo>
                  <a:lnTo>
                    <a:pt x="77" y="1451"/>
                  </a:lnTo>
                  <a:lnTo>
                    <a:pt x="72" y="1451"/>
                  </a:lnTo>
                  <a:lnTo>
                    <a:pt x="66" y="1451"/>
                  </a:lnTo>
                  <a:lnTo>
                    <a:pt x="72" y="1457"/>
                  </a:lnTo>
                  <a:lnTo>
                    <a:pt x="66" y="1462"/>
                  </a:lnTo>
                  <a:lnTo>
                    <a:pt x="66" y="1468"/>
                  </a:lnTo>
                  <a:lnTo>
                    <a:pt x="66" y="1473"/>
                  </a:lnTo>
                  <a:lnTo>
                    <a:pt x="61" y="1479"/>
                  </a:lnTo>
                  <a:lnTo>
                    <a:pt x="61" y="1473"/>
                  </a:lnTo>
                  <a:lnTo>
                    <a:pt x="55" y="1473"/>
                  </a:lnTo>
                  <a:lnTo>
                    <a:pt x="55" y="1468"/>
                  </a:lnTo>
                  <a:lnTo>
                    <a:pt x="55" y="1462"/>
                  </a:lnTo>
                  <a:lnTo>
                    <a:pt x="55" y="1457"/>
                  </a:lnTo>
                  <a:lnTo>
                    <a:pt x="50" y="1457"/>
                  </a:lnTo>
                  <a:lnTo>
                    <a:pt x="50" y="1451"/>
                  </a:lnTo>
                  <a:lnTo>
                    <a:pt x="55" y="1451"/>
                  </a:lnTo>
                  <a:lnTo>
                    <a:pt x="55" y="1446"/>
                  </a:lnTo>
                  <a:lnTo>
                    <a:pt x="50" y="1446"/>
                  </a:lnTo>
                  <a:lnTo>
                    <a:pt x="55" y="1440"/>
                  </a:lnTo>
                  <a:lnTo>
                    <a:pt x="61" y="1440"/>
                  </a:lnTo>
                  <a:lnTo>
                    <a:pt x="72" y="1440"/>
                  </a:lnTo>
                  <a:lnTo>
                    <a:pt x="66" y="1440"/>
                  </a:lnTo>
                  <a:lnTo>
                    <a:pt x="61" y="1440"/>
                  </a:lnTo>
                  <a:lnTo>
                    <a:pt x="55" y="1440"/>
                  </a:lnTo>
                  <a:lnTo>
                    <a:pt x="61" y="1435"/>
                  </a:lnTo>
                  <a:lnTo>
                    <a:pt x="55" y="1435"/>
                  </a:lnTo>
                  <a:lnTo>
                    <a:pt x="61" y="1429"/>
                  </a:lnTo>
                  <a:lnTo>
                    <a:pt x="66" y="1429"/>
                  </a:lnTo>
                  <a:lnTo>
                    <a:pt x="72" y="1429"/>
                  </a:lnTo>
                  <a:lnTo>
                    <a:pt x="72" y="1435"/>
                  </a:lnTo>
                  <a:lnTo>
                    <a:pt x="72" y="1429"/>
                  </a:lnTo>
                  <a:lnTo>
                    <a:pt x="77" y="1424"/>
                  </a:lnTo>
                  <a:lnTo>
                    <a:pt x="72" y="1424"/>
                  </a:lnTo>
                  <a:lnTo>
                    <a:pt x="66" y="1424"/>
                  </a:lnTo>
                  <a:lnTo>
                    <a:pt x="61" y="1424"/>
                  </a:lnTo>
                  <a:lnTo>
                    <a:pt x="66" y="1418"/>
                  </a:lnTo>
                  <a:lnTo>
                    <a:pt x="61" y="1418"/>
                  </a:lnTo>
                  <a:lnTo>
                    <a:pt x="55" y="1413"/>
                  </a:lnTo>
                  <a:lnTo>
                    <a:pt x="50" y="1413"/>
                  </a:lnTo>
                  <a:lnTo>
                    <a:pt x="50" y="1407"/>
                  </a:lnTo>
                  <a:lnTo>
                    <a:pt x="44" y="1407"/>
                  </a:lnTo>
                  <a:lnTo>
                    <a:pt x="50" y="1402"/>
                  </a:lnTo>
                  <a:lnTo>
                    <a:pt x="55" y="1402"/>
                  </a:lnTo>
                  <a:lnTo>
                    <a:pt x="55" y="1407"/>
                  </a:lnTo>
                  <a:lnTo>
                    <a:pt x="61" y="1413"/>
                  </a:lnTo>
                  <a:lnTo>
                    <a:pt x="61" y="1418"/>
                  </a:lnTo>
                  <a:lnTo>
                    <a:pt x="66" y="1418"/>
                  </a:lnTo>
                  <a:lnTo>
                    <a:pt x="66" y="1413"/>
                  </a:lnTo>
                  <a:lnTo>
                    <a:pt x="61" y="1413"/>
                  </a:lnTo>
                  <a:lnTo>
                    <a:pt x="61" y="1407"/>
                  </a:lnTo>
                  <a:lnTo>
                    <a:pt x="55" y="1407"/>
                  </a:lnTo>
                  <a:lnTo>
                    <a:pt x="61" y="1407"/>
                  </a:lnTo>
                  <a:lnTo>
                    <a:pt x="66" y="1407"/>
                  </a:lnTo>
                  <a:lnTo>
                    <a:pt x="72" y="1407"/>
                  </a:lnTo>
                  <a:lnTo>
                    <a:pt x="77" y="1407"/>
                  </a:lnTo>
                  <a:lnTo>
                    <a:pt x="77" y="1413"/>
                  </a:lnTo>
                  <a:lnTo>
                    <a:pt x="83" y="1407"/>
                  </a:lnTo>
                  <a:lnTo>
                    <a:pt x="83" y="1413"/>
                  </a:lnTo>
                  <a:lnTo>
                    <a:pt x="83" y="1407"/>
                  </a:lnTo>
                  <a:lnTo>
                    <a:pt x="88" y="1413"/>
                  </a:lnTo>
                  <a:lnTo>
                    <a:pt x="88" y="1418"/>
                  </a:lnTo>
                  <a:lnTo>
                    <a:pt x="94" y="1418"/>
                  </a:lnTo>
                  <a:lnTo>
                    <a:pt x="94" y="1413"/>
                  </a:lnTo>
                  <a:lnTo>
                    <a:pt x="99" y="1413"/>
                  </a:lnTo>
                  <a:lnTo>
                    <a:pt x="99" y="1418"/>
                  </a:lnTo>
                  <a:lnTo>
                    <a:pt x="99" y="1413"/>
                  </a:lnTo>
                  <a:lnTo>
                    <a:pt x="105" y="1413"/>
                  </a:lnTo>
                  <a:lnTo>
                    <a:pt x="105" y="1407"/>
                  </a:lnTo>
                  <a:lnTo>
                    <a:pt x="105" y="1413"/>
                  </a:lnTo>
                  <a:lnTo>
                    <a:pt x="99" y="1413"/>
                  </a:lnTo>
                  <a:lnTo>
                    <a:pt x="94" y="1413"/>
                  </a:lnTo>
                  <a:lnTo>
                    <a:pt x="88" y="1407"/>
                  </a:lnTo>
                  <a:lnTo>
                    <a:pt x="88" y="1402"/>
                  </a:lnTo>
                  <a:lnTo>
                    <a:pt x="94" y="1402"/>
                  </a:lnTo>
                  <a:lnTo>
                    <a:pt x="99" y="1407"/>
                  </a:lnTo>
                  <a:lnTo>
                    <a:pt x="99" y="1402"/>
                  </a:lnTo>
                  <a:lnTo>
                    <a:pt x="105" y="1407"/>
                  </a:lnTo>
                  <a:lnTo>
                    <a:pt x="99" y="1402"/>
                  </a:lnTo>
                  <a:lnTo>
                    <a:pt x="94" y="1402"/>
                  </a:lnTo>
                  <a:lnTo>
                    <a:pt x="88" y="1402"/>
                  </a:lnTo>
                  <a:lnTo>
                    <a:pt x="94" y="1396"/>
                  </a:lnTo>
                  <a:lnTo>
                    <a:pt x="83" y="1396"/>
                  </a:lnTo>
                  <a:lnTo>
                    <a:pt x="83" y="1391"/>
                  </a:lnTo>
                  <a:lnTo>
                    <a:pt x="88" y="1391"/>
                  </a:lnTo>
                  <a:lnTo>
                    <a:pt x="83" y="1391"/>
                  </a:lnTo>
                  <a:lnTo>
                    <a:pt x="83" y="1385"/>
                  </a:lnTo>
                  <a:lnTo>
                    <a:pt x="88" y="1385"/>
                  </a:lnTo>
                  <a:lnTo>
                    <a:pt x="83" y="1385"/>
                  </a:lnTo>
                  <a:lnTo>
                    <a:pt x="83" y="1391"/>
                  </a:lnTo>
                  <a:lnTo>
                    <a:pt x="83" y="1396"/>
                  </a:lnTo>
                  <a:lnTo>
                    <a:pt x="72" y="1396"/>
                  </a:lnTo>
                  <a:lnTo>
                    <a:pt x="66" y="1396"/>
                  </a:lnTo>
                  <a:lnTo>
                    <a:pt x="61" y="1396"/>
                  </a:lnTo>
                  <a:lnTo>
                    <a:pt x="55" y="1396"/>
                  </a:lnTo>
                  <a:lnTo>
                    <a:pt x="50" y="1396"/>
                  </a:lnTo>
                  <a:lnTo>
                    <a:pt x="44" y="1396"/>
                  </a:lnTo>
                  <a:lnTo>
                    <a:pt x="39" y="1396"/>
                  </a:lnTo>
                  <a:lnTo>
                    <a:pt x="39" y="1391"/>
                  </a:lnTo>
                  <a:lnTo>
                    <a:pt x="44" y="1391"/>
                  </a:lnTo>
                  <a:lnTo>
                    <a:pt x="50" y="1391"/>
                  </a:lnTo>
                  <a:lnTo>
                    <a:pt x="44" y="1385"/>
                  </a:lnTo>
                  <a:lnTo>
                    <a:pt x="50" y="1385"/>
                  </a:lnTo>
                  <a:lnTo>
                    <a:pt x="55" y="1385"/>
                  </a:lnTo>
                  <a:lnTo>
                    <a:pt x="55" y="1391"/>
                  </a:lnTo>
                  <a:lnTo>
                    <a:pt x="50" y="1391"/>
                  </a:lnTo>
                  <a:lnTo>
                    <a:pt x="55" y="1391"/>
                  </a:lnTo>
                  <a:lnTo>
                    <a:pt x="61" y="1396"/>
                  </a:lnTo>
                  <a:lnTo>
                    <a:pt x="66" y="1396"/>
                  </a:lnTo>
                  <a:lnTo>
                    <a:pt x="61" y="1396"/>
                  </a:lnTo>
                  <a:lnTo>
                    <a:pt x="61" y="1391"/>
                  </a:lnTo>
                  <a:lnTo>
                    <a:pt x="66" y="1391"/>
                  </a:lnTo>
                  <a:lnTo>
                    <a:pt x="61" y="1391"/>
                  </a:lnTo>
                  <a:lnTo>
                    <a:pt x="66" y="1385"/>
                  </a:lnTo>
                  <a:lnTo>
                    <a:pt x="66" y="1391"/>
                  </a:lnTo>
                  <a:lnTo>
                    <a:pt x="72" y="1385"/>
                  </a:lnTo>
                  <a:lnTo>
                    <a:pt x="66" y="1385"/>
                  </a:lnTo>
                  <a:lnTo>
                    <a:pt x="72" y="1385"/>
                  </a:lnTo>
                  <a:lnTo>
                    <a:pt x="66" y="1385"/>
                  </a:lnTo>
                  <a:lnTo>
                    <a:pt x="61" y="1385"/>
                  </a:lnTo>
                  <a:lnTo>
                    <a:pt x="55" y="1385"/>
                  </a:lnTo>
                  <a:lnTo>
                    <a:pt x="50" y="1380"/>
                  </a:lnTo>
                  <a:lnTo>
                    <a:pt x="55" y="1380"/>
                  </a:lnTo>
                  <a:lnTo>
                    <a:pt x="50" y="1380"/>
                  </a:lnTo>
                  <a:lnTo>
                    <a:pt x="50" y="1374"/>
                  </a:lnTo>
                  <a:lnTo>
                    <a:pt x="55" y="1374"/>
                  </a:lnTo>
                  <a:lnTo>
                    <a:pt x="61" y="1369"/>
                  </a:lnTo>
                  <a:lnTo>
                    <a:pt x="61" y="1374"/>
                  </a:lnTo>
                  <a:lnTo>
                    <a:pt x="61" y="1369"/>
                  </a:lnTo>
                  <a:lnTo>
                    <a:pt x="61" y="1374"/>
                  </a:lnTo>
                  <a:lnTo>
                    <a:pt x="61" y="1369"/>
                  </a:lnTo>
                  <a:lnTo>
                    <a:pt x="66" y="1369"/>
                  </a:lnTo>
                  <a:lnTo>
                    <a:pt x="66" y="1374"/>
                  </a:lnTo>
                  <a:lnTo>
                    <a:pt x="66" y="1369"/>
                  </a:lnTo>
                  <a:lnTo>
                    <a:pt x="72" y="1369"/>
                  </a:lnTo>
                  <a:lnTo>
                    <a:pt x="72" y="1374"/>
                  </a:lnTo>
                  <a:lnTo>
                    <a:pt x="72" y="1369"/>
                  </a:lnTo>
                  <a:lnTo>
                    <a:pt x="72" y="1363"/>
                  </a:lnTo>
                  <a:lnTo>
                    <a:pt x="72" y="1358"/>
                  </a:lnTo>
                  <a:lnTo>
                    <a:pt x="66" y="1358"/>
                  </a:lnTo>
                  <a:lnTo>
                    <a:pt x="61" y="1358"/>
                  </a:lnTo>
                  <a:lnTo>
                    <a:pt x="66" y="1352"/>
                  </a:lnTo>
                  <a:lnTo>
                    <a:pt x="61" y="1352"/>
                  </a:lnTo>
                  <a:lnTo>
                    <a:pt x="55" y="1347"/>
                  </a:lnTo>
                  <a:lnTo>
                    <a:pt x="50" y="1347"/>
                  </a:lnTo>
                  <a:lnTo>
                    <a:pt x="50" y="1352"/>
                  </a:lnTo>
                  <a:lnTo>
                    <a:pt x="44" y="1352"/>
                  </a:lnTo>
                  <a:lnTo>
                    <a:pt x="50" y="1352"/>
                  </a:lnTo>
                  <a:lnTo>
                    <a:pt x="55" y="1352"/>
                  </a:lnTo>
                  <a:lnTo>
                    <a:pt x="50" y="1358"/>
                  </a:lnTo>
                  <a:lnTo>
                    <a:pt x="44" y="1352"/>
                  </a:lnTo>
                  <a:lnTo>
                    <a:pt x="39" y="1352"/>
                  </a:lnTo>
                  <a:lnTo>
                    <a:pt x="39" y="1347"/>
                  </a:lnTo>
                  <a:lnTo>
                    <a:pt x="33" y="1347"/>
                  </a:lnTo>
                  <a:lnTo>
                    <a:pt x="33" y="1352"/>
                  </a:lnTo>
                  <a:lnTo>
                    <a:pt x="28" y="1347"/>
                  </a:lnTo>
                  <a:lnTo>
                    <a:pt x="28" y="1341"/>
                  </a:lnTo>
                  <a:lnTo>
                    <a:pt x="33" y="1336"/>
                  </a:lnTo>
                  <a:lnTo>
                    <a:pt x="28" y="1336"/>
                  </a:lnTo>
                  <a:lnTo>
                    <a:pt x="28" y="1341"/>
                  </a:lnTo>
                  <a:lnTo>
                    <a:pt x="22" y="1341"/>
                  </a:lnTo>
                  <a:lnTo>
                    <a:pt x="17" y="1341"/>
                  </a:lnTo>
                  <a:lnTo>
                    <a:pt x="11" y="1341"/>
                  </a:lnTo>
                  <a:lnTo>
                    <a:pt x="11" y="1347"/>
                  </a:lnTo>
                  <a:lnTo>
                    <a:pt x="11" y="1341"/>
                  </a:lnTo>
                  <a:lnTo>
                    <a:pt x="0" y="1347"/>
                  </a:lnTo>
                  <a:lnTo>
                    <a:pt x="0" y="1352"/>
                  </a:lnTo>
                  <a:lnTo>
                    <a:pt x="6" y="1347"/>
                  </a:lnTo>
                  <a:lnTo>
                    <a:pt x="11" y="1347"/>
                  </a:lnTo>
                  <a:lnTo>
                    <a:pt x="6" y="1352"/>
                  </a:lnTo>
                  <a:lnTo>
                    <a:pt x="11" y="1352"/>
                  </a:lnTo>
                  <a:lnTo>
                    <a:pt x="11" y="1358"/>
                  </a:lnTo>
                  <a:lnTo>
                    <a:pt x="6" y="1358"/>
                  </a:lnTo>
                  <a:lnTo>
                    <a:pt x="0" y="1352"/>
                  </a:lnTo>
                  <a:lnTo>
                    <a:pt x="0" y="1341"/>
                  </a:lnTo>
                  <a:lnTo>
                    <a:pt x="6" y="1341"/>
                  </a:lnTo>
                  <a:lnTo>
                    <a:pt x="6" y="1336"/>
                  </a:lnTo>
                  <a:lnTo>
                    <a:pt x="11" y="1336"/>
                  </a:lnTo>
                  <a:lnTo>
                    <a:pt x="17" y="1330"/>
                  </a:lnTo>
                  <a:lnTo>
                    <a:pt x="17" y="1336"/>
                  </a:lnTo>
                  <a:lnTo>
                    <a:pt x="22" y="1325"/>
                  </a:lnTo>
                  <a:lnTo>
                    <a:pt x="22" y="1330"/>
                  </a:lnTo>
                  <a:lnTo>
                    <a:pt x="28" y="1330"/>
                  </a:lnTo>
                  <a:lnTo>
                    <a:pt x="22" y="1330"/>
                  </a:lnTo>
                  <a:lnTo>
                    <a:pt x="22" y="1325"/>
                  </a:lnTo>
                  <a:lnTo>
                    <a:pt x="28" y="1325"/>
                  </a:lnTo>
                  <a:lnTo>
                    <a:pt x="33" y="1325"/>
                  </a:lnTo>
                  <a:lnTo>
                    <a:pt x="28" y="1325"/>
                  </a:lnTo>
                  <a:lnTo>
                    <a:pt x="33" y="1319"/>
                  </a:lnTo>
                  <a:lnTo>
                    <a:pt x="39" y="1325"/>
                  </a:lnTo>
                  <a:lnTo>
                    <a:pt x="39" y="1319"/>
                  </a:lnTo>
                  <a:lnTo>
                    <a:pt x="39" y="1314"/>
                  </a:lnTo>
                  <a:lnTo>
                    <a:pt x="44" y="1314"/>
                  </a:lnTo>
                  <a:lnTo>
                    <a:pt x="39" y="1314"/>
                  </a:lnTo>
                  <a:lnTo>
                    <a:pt x="39" y="1308"/>
                  </a:lnTo>
                  <a:lnTo>
                    <a:pt x="44" y="1303"/>
                  </a:lnTo>
                  <a:lnTo>
                    <a:pt x="44" y="1308"/>
                  </a:lnTo>
                  <a:lnTo>
                    <a:pt x="50" y="1303"/>
                  </a:lnTo>
                  <a:lnTo>
                    <a:pt x="50" y="1308"/>
                  </a:lnTo>
                  <a:lnTo>
                    <a:pt x="50" y="1314"/>
                  </a:lnTo>
                  <a:lnTo>
                    <a:pt x="55" y="1308"/>
                  </a:lnTo>
                  <a:lnTo>
                    <a:pt x="50" y="1308"/>
                  </a:lnTo>
                  <a:lnTo>
                    <a:pt x="55" y="1308"/>
                  </a:lnTo>
                  <a:lnTo>
                    <a:pt x="50" y="1303"/>
                  </a:lnTo>
                  <a:lnTo>
                    <a:pt x="55" y="1303"/>
                  </a:lnTo>
                  <a:lnTo>
                    <a:pt x="61" y="1303"/>
                  </a:lnTo>
                  <a:lnTo>
                    <a:pt x="66" y="1303"/>
                  </a:lnTo>
                  <a:lnTo>
                    <a:pt x="66" y="1308"/>
                  </a:lnTo>
                  <a:lnTo>
                    <a:pt x="72" y="1314"/>
                  </a:lnTo>
                  <a:lnTo>
                    <a:pt x="66" y="1314"/>
                  </a:lnTo>
                  <a:lnTo>
                    <a:pt x="66" y="1319"/>
                  </a:lnTo>
                  <a:lnTo>
                    <a:pt x="66" y="1314"/>
                  </a:lnTo>
                  <a:lnTo>
                    <a:pt x="72" y="1314"/>
                  </a:lnTo>
                  <a:lnTo>
                    <a:pt x="72" y="1319"/>
                  </a:lnTo>
                  <a:lnTo>
                    <a:pt x="66" y="1319"/>
                  </a:lnTo>
                  <a:lnTo>
                    <a:pt x="66" y="1325"/>
                  </a:lnTo>
                  <a:lnTo>
                    <a:pt x="55" y="1325"/>
                  </a:lnTo>
                  <a:lnTo>
                    <a:pt x="50" y="1319"/>
                  </a:lnTo>
                  <a:lnTo>
                    <a:pt x="55" y="1325"/>
                  </a:lnTo>
                  <a:lnTo>
                    <a:pt x="66" y="1325"/>
                  </a:lnTo>
                  <a:lnTo>
                    <a:pt x="72" y="1325"/>
                  </a:lnTo>
                  <a:lnTo>
                    <a:pt x="66" y="1325"/>
                  </a:lnTo>
                  <a:lnTo>
                    <a:pt x="72" y="1325"/>
                  </a:lnTo>
                  <a:lnTo>
                    <a:pt x="66" y="1330"/>
                  </a:lnTo>
                  <a:lnTo>
                    <a:pt x="72" y="1325"/>
                  </a:lnTo>
                  <a:lnTo>
                    <a:pt x="77" y="1330"/>
                  </a:lnTo>
                  <a:lnTo>
                    <a:pt x="72" y="1325"/>
                  </a:lnTo>
                  <a:lnTo>
                    <a:pt x="72" y="1319"/>
                  </a:lnTo>
                  <a:lnTo>
                    <a:pt x="77" y="1319"/>
                  </a:lnTo>
                  <a:lnTo>
                    <a:pt x="77" y="1325"/>
                  </a:lnTo>
                  <a:lnTo>
                    <a:pt x="83" y="1325"/>
                  </a:lnTo>
                  <a:lnTo>
                    <a:pt x="83" y="1330"/>
                  </a:lnTo>
                  <a:lnTo>
                    <a:pt x="72" y="1341"/>
                  </a:lnTo>
                  <a:lnTo>
                    <a:pt x="77" y="1341"/>
                  </a:lnTo>
                  <a:lnTo>
                    <a:pt x="83" y="1336"/>
                  </a:lnTo>
                  <a:lnTo>
                    <a:pt x="88" y="1330"/>
                  </a:lnTo>
                  <a:lnTo>
                    <a:pt x="94" y="1325"/>
                  </a:lnTo>
                  <a:lnTo>
                    <a:pt x="88" y="1325"/>
                  </a:lnTo>
                  <a:lnTo>
                    <a:pt x="94" y="1319"/>
                  </a:lnTo>
                  <a:lnTo>
                    <a:pt x="99" y="1319"/>
                  </a:lnTo>
                  <a:lnTo>
                    <a:pt x="99" y="1314"/>
                  </a:lnTo>
                  <a:lnTo>
                    <a:pt x="94" y="1319"/>
                  </a:lnTo>
                  <a:lnTo>
                    <a:pt x="88" y="1325"/>
                  </a:lnTo>
                  <a:lnTo>
                    <a:pt x="88" y="1330"/>
                  </a:lnTo>
                  <a:lnTo>
                    <a:pt x="88" y="1325"/>
                  </a:lnTo>
                  <a:lnTo>
                    <a:pt x="88" y="1319"/>
                  </a:lnTo>
                  <a:lnTo>
                    <a:pt x="88" y="1314"/>
                  </a:lnTo>
                  <a:lnTo>
                    <a:pt x="88" y="1308"/>
                  </a:lnTo>
                  <a:lnTo>
                    <a:pt x="94" y="1308"/>
                  </a:lnTo>
                  <a:lnTo>
                    <a:pt x="88" y="1303"/>
                  </a:lnTo>
                  <a:lnTo>
                    <a:pt x="99" y="1303"/>
                  </a:lnTo>
                  <a:lnTo>
                    <a:pt x="99" y="1297"/>
                  </a:lnTo>
                  <a:lnTo>
                    <a:pt x="105" y="1297"/>
                  </a:lnTo>
                  <a:lnTo>
                    <a:pt x="110" y="1297"/>
                  </a:lnTo>
                  <a:lnTo>
                    <a:pt x="105" y="1297"/>
                  </a:lnTo>
                  <a:lnTo>
                    <a:pt x="99" y="1297"/>
                  </a:lnTo>
                  <a:lnTo>
                    <a:pt x="94" y="1303"/>
                  </a:lnTo>
                  <a:lnTo>
                    <a:pt x="88" y="1303"/>
                  </a:lnTo>
                  <a:lnTo>
                    <a:pt x="94" y="1286"/>
                  </a:lnTo>
                  <a:lnTo>
                    <a:pt x="99" y="1286"/>
                  </a:lnTo>
                  <a:lnTo>
                    <a:pt x="105" y="1286"/>
                  </a:lnTo>
                  <a:lnTo>
                    <a:pt x="105" y="1281"/>
                  </a:lnTo>
                  <a:lnTo>
                    <a:pt x="110" y="1281"/>
                  </a:lnTo>
                  <a:lnTo>
                    <a:pt x="110" y="1286"/>
                  </a:lnTo>
                  <a:lnTo>
                    <a:pt x="116" y="1286"/>
                  </a:lnTo>
                  <a:lnTo>
                    <a:pt x="121" y="1286"/>
                  </a:lnTo>
                  <a:lnTo>
                    <a:pt x="116" y="1286"/>
                  </a:lnTo>
                  <a:lnTo>
                    <a:pt x="110" y="1281"/>
                  </a:lnTo>
                  <a:lnTo>
                    <a:pt x="105" y="1281"/>
                  </a:lnTo>
                  <a:lnTo>
                    <a:pt x="99" y="1281"/>
                  </a:lnTo>
                  <a:lnTo>
                    <a:pt x="94" y="1281"/>
                  </a:lnTo>
                  <a:lnTo>
                    <a:pt x="94" y="1275"/>
                  </a:lnTo>
                  <a:lnTo>
                    <a:pt x="99" y="1275"/>
                  </a:lnTo>
                  <a:lnTo>
                    <a:pt x="105" y="1275"/>
                  </a:lnTo>
                  <a:lnTo>
                    <a:pt x="99" y="1270"/>
                  </a:lnTo>
                  <a:lnTo>
                    <a:pt x="99" y="1264"/>
                  </a:lnTo>
                  <a:lnTo>
                    <a:pt x="105" y="1264"/>
                  </a:lnTo>
                  <a:lnTo>
                    <a:pt x="110" y="1264"/>
                  </a:lnTo>
                  <a:lnTo>
                    <a:pt x="116" y="1264"/>
                  </a:lnTo>
                  <a:lnTo>
                    <a:pt x="121" y="1264"/>
                  </a:lnTo>
                  <a:lnTo>
                    <a:pt x="127" y="1259"/>
                  </a:lnTo>
                  <a:lnTo>
                    <a:pt x="127" y="1253"/>
                  </a:lnTo>
                  <a:lnTo>
                    <a:pt x="127" y="1248"/>
                  </a:lnTo>
                  <a:lnTo>
                    <a:pt x="132" y="1242"/>
                  </a:lnTo>
                  <a:lnTo>
                    <a:pt x="132" y="1237"/>
                  </a:lnTo>
                  <a:lnTo>
                    <a:pt x="132" y="1242"/>
                  </a:lnTo>
                  <a:lnTo>
                    <a:pt x="127" y="1242"/>
                  </a:lnTo>
                  <a:lnTo>
                    <a:pt x="121" y="1242"/>
                  </a:lnTo>
                  <a:lnTo>
                    <a:pt x="121" y="1237"/>
                  </a:lnTo>
                  <a:lnTo>
                    <a:pt x="110" y="1231"/>
                  </a:lnTo>
                  <a:lnTo>
                    <a:pt x="110" y="1226"/>
                  </a:lnTo>
                  <a:lnTo>
                    <a:pt x="110" y="1231"/>
                  </a:lnTo>
                  <a:lnTo>
                    <a:pt x="105" y="1231"/>
                  </a:lnTo>
                  <a:lnTo>
                    <a:pt x="105" y="1226"/>
                  </a:lnTo>
                  <a:lnTo>
                    <a:pt x="110" y="1226"/>
                  </a:lnTo>
                  <a:lnTo>
                    <a:pt x="110" y="1220"/>
                  </a:lnTo>
                  <a:lnTo>
                    <a:pt x="110" y="1215"/>
                  </a:lnTo>
                  <a:lnTo>
                    <a:pt x="116" y="1215"/>
                  </a:lnTo>
                  <a:lnTo>
                    <a:pt x="116" y="1209"/>
                  </a:lnTo>
                  <a:lnTo>
                    <a:pt x="116" y="1215"/>
                  </a:lnTo>
                  <a:lnTo>
                    <a:pt x="121" y="1209"/>
                  </a:lnTo>
                  <a:lnTo>
                    <a:pt x="121" y="1215"/>
                  </a:lnTo>
                  <a:lnTo>
                    <a:pt x="127" y="1215"/>
                  </a:lnTo>
                  <a:lnTo>
                    <a:pt x="121" y="1209"/>
                  </a:lnTo>
                  <a:lnTo>
                    <a:pt x="121" y="1204"/>
                  </a:lnTo>
                  <a:lnTo>
                    <a:pt x="121" y="1209"/>
                  </a:lnTo>
                  <a:lnTo>
                    <a:pt x="116" y="1209"/>
                  </a:lnTo>
                  <a:lnTo>
                    <a:pt x="116" y="1204"/>
                  </a:lnTo>
                  <a:lnTo>
                    <a:pt x="121" y="1204"/>
                  </a:lnTo>
                  <a:lnTo>
                    <a:pt x="116" y="1204"/>
                  </a:lnTo>
                  <a:lnTo>
                    <a:pt x="110" y="1193"/>
                  </a:lnTo>
                  <a:lnTo>
                    <a:pt x="110" y="1187"/>
                  </a:lnTo>
                  <a:lnTo>
                    <a:pt x="121" y="1187"/>
                  </a:lnTo>
                  <a:lnTo>
                    <a:pt x="121" y="1182"/>
                  </a:lnTo>
                  <a:lnTo>
                    <a:pt x="121" y="1176"/>
                  </a:lnTo>
                  <a:lnTo>
                    <a:pt x="127" y="1176"/>
                  </a:lnTo>
                  <a:lnTo>
                    <a:pt x="127" y="1182"/>
                  </a:lnTo>
                  <a:lnTo>
                    <a:pt x="127" y="1176"/>
                  </a:lnTo>
                  <a:lnTo>
                    <a:pt x="127" y="1171"/>
                  </a:lnTo>
                  <a:lnTo>
                    <a:pt x="121" y="1165"/>
                  </a:lnTo>
                  <a:lnTo>
                    <a:pt x="121" y="1160"/>
                  </a:lnTo>
                  <a:lnTo>
                    <a:pt x="127" y="1160"/>
                  </a:lnTo>
                  <a:lnTo>
                    <a:pt x="121" y="1160"/>
                  </a:lnTo>
                  <a:lnTo>
                    <a:pt x="121" y="1154"/>
                  </a:lnTo>
                  <a:lnTo>
                    <a:pt x="127" y="1149"/>
                  </a:lnTo>
                  <a:lnTo>
                    <a:pt x="132" y="1154"/>
                  </a:lnTo>
                  <a:lnTo>
                    <a:pt x="138" y="1154"/>
                  </a:lnTo>
                  <a:lnTo>
                    <a:pt x="132" y="1154"/>
                  </a:lnTo>
                  <a:lnTo>
                    <a:pt x="127" y="1149"/>
                  </a:lnTo>
                  <a:lnTo>
                    <a:pt x="127" y="1143"/>
                  </a:lnTo>
                  <a:lnTo>
                    <a:pt x="121" y="1143"/>
                  </a:lnTo>
                  <a:lnTo>
                    <a:pt x="127" y="1138"/>
                  </a:lnTo>
                  <a:lnTo>
                    <a:pt x="132" y="1138"/>
                  </a:lnTo>
                  <a:lnTo>
                    <a:pt x="138" y="1138"/>
                  </a:lnTo>
                  <a:lnTo>
                    <a:pt x="138" y="1143"/>
                  </a:lnTo>
                  <a:lnTo>
                    <a:pt x="138" y="1149"/>
                  </a:lnTo>
                  <a:lnTo>
                    <a:pt x="143" y="1149"/>
                  </a:lnTo>
                  <a:lnTo>
                    <a:pt x="138" y="1143"/>
                  </a:lnTo>
                  <a:lnTo>
                    <a:pt x="143" y="1138"/>
                  </a:lnTo>
                  <a:lnTo>
                    <a:pt x="138" y="1138"/>
                  </a:lnTo>
                  <a:lnTo>
                    <a:pt x="143" y="1138"/>
                  </a:lnTo>
                  <a:lnTo>
                    <a:pt x="138" y="1138"/>
                  </a:lnTo>
                  <a:lnTo>
                    <a:pt x="138" y="1132"/>
                  </a:lnTo>
                  <a:lnTo>
                    <a:pt x="138" y="1127"/>
                  </a:lnTo>
                  <a:lnTo>
                    <a:pt x="132" y="1132"/>
                  </a:lnTo>
                  <a:lnTo>
                    <a:pt x="132" y="1127"/>
                  </a:lnTo>
                  <a:lnTo>
                    <a:pt x="127" y="1127"/>
                  </a:lnTo>
                  <a:lnTo>
                    <a:pt x="121" y="1127"/>
                  </a:lnTo>
                  <a:lnTo>
                    <a:pt x="132" y="1116"/>
                  </a:lnTo>
                  <a:lnTo>
                    <a:pt x="138" y="1116"/>
                  </a:lnTo>
                  <a:lnTo>
                    <a:pt x="143" y="1116"/>
                  </a:lnTo>
                  <a:lnTo>
                    <a:pt x="143" y="1110"/>
                  </a:lnTo>
                  <a:lnTo>
                    <a:pt x="149" y="1110"/>
                  </a:lnTo>
                  <a:lnTo>
                    <a:pt x="143" y="1110"/>
                  </a:lnTo>
                  <a:lnTo>
                    <a:pt x="149" y="1105"/>
                  </a:lnTo>
                  <a:lnTo>
                    <a:pt x="143" y="1105"/>
                  </a:lnTo>
                  <a:lnTo>
                    <a:pt x="149" y="1099"/>
                  </a:lnTo>
                  <a:lnTo>
                    <a:pt x="143" y="1099"/>
                  </a:lnTo>
                  <a:lnTo>
                    <a:pt x="143" y="1105"/>
                  </a:lnTo>
                  <a:lnTo>
                    <a:pt x="143" y="1110"/>
                  </a:lnTo>
                  <a:lnTo>
                    <a:pt x="143" y="1116"/>
                  </a:lnTo>
                  <a:lnTo>
                    <a:pt x="138" y="1116"/>
                  </a:lnTo>
                  <a:lnTo>
                    <a:pt x="132" y="1116"/>
                  </a:lnTo>
                  <a:lnTo>
                    <a:pt x="127" y="1116"/>
                  </a:lnTo>
                  <a:lnTo>
                    <a:pt x="127" y="1110"/>
                  </a:lnTo>
                  <a:lnTo>
                    <a:pt x="121" y="1105"/>
                  </a:lnTo>
                  <a:lnTo>
                    <a:pt x="116" y="1105"/>
                  </a:lnTo>
                  <a:lnTo>
                    <a:pt x="116" y="1110"/>
                  </a:lnTo>
                  <a:lnTo>
                    <a:pt x="110" y="1110"/>
                  </a:lnTo>
                  <a:lnTo>
                    <a:pt x="116" y="1116"/>
                  </a:lnTo>
                  <a:lnTo>
                    <a:pt x="110" y="1116"/>
                  </a:lnTo>
                  <a:lnTo>
                    <a:pt x="105" y="1121"/>
                  </a:lnTo>
                  <a:lnTo>
                    <a:pt x="99" y="1116"/>
                  </a:lnTo>
                  <a:lnTo>
                    <a:pt x="99" y="1121"/>
                  </a:lnTo>
                  <a:lnTo>
                    <a:pt x="94" y="1121"/>
                  </a:lnTo>
                  <a:lnTo>
                    <a:pt x="88" y="1116"/>
                  </a:lnTo>
                  <a:lnTo>
                    <a:pt x="83" y="1116"/>
                  </a:lnTo>
                  <a:lnTo>
                    <a:pt x="88" y="1110"/>
                  </a:lnTo>
                  <a:lnTo>
                    <a:pt x="94" y="1105"/>
                  </a:lnTo>
                  <a:lnTo>
                    <a:pt x="94" y="1110"/>
                  </a:lnTo>
                  <a:lnTo>
                    <a:pt x="88" y="1110"/>
                  </a:lnTo>
                  <a:lnTo>
                    <a:pt x="83" y="1110"/>
                  </a:lnTo>
                  <a:lnTo>
                    <a:pt x="83" y="1105"/>
                  </a:lnTo>
                  <a:lnTo>
                    <a:pt x="77" y="1105"/>
                  </a:lnTo>
                  <a:lnTo>
                    <a:pt x="77" y="1099"/>
                  </a:lnTo>
                  <a:lnTo>
                    <a:pt x="77" y="1094"/>
                  </a:lnTo>
                  <a:lnTo>
                    <a:pt x="72" y="1088"/>
                  </a:lnTo>
                  <a:lnTo>
                    <a:pt x="72" y="1083"/>
                  </a:lnTo>
                  <a:lnTo>
                    <a:pt x="72" y="1077"/>
                  </a:lnTo>
                  <a:lnTo>
                    <a:pt x="77" y="1077"/>
                  </a:lnTo>
                  <a:lnTo>
                    <a:pt x="72" y="1077"/>
                  </a:lnTo>
                  <a:lnTo>
                    <a:pt x="77" y="1072"/>
                  </a:lnTo>
                  <a:lnTo>
                    <a:pt x="77" y="1066"/>
                  </a:lnTo>
                  <a:lnTo>
                    <a:pt x="83" y="1061"/>
                  </a:lnTo>
                  <a:lnTo>
                    <a:pt x="83" y="1055"/>
                  </a:lnTo>
                  <a:lnTo>
                    <a:pt x="83" y="1050"/>
                  </a:lnTo>
                  <a:lnTo>
                    <a:pt x="83" y="1044"/>
                  </a:lnTo>
                  <a:lnTo>
                    <a:pt x="88" y="1044"/>
                  </a:lnTo>
                  <a:lnTo>
                    <a:pt x="88" y="1039"/>
                  </a:lnTo>
                  <a:lnTo>
                    <a:pt x="83" y="1033"/>
                  </a:lnTo>
                  <a:lnTo>
                    <a:pt x="88" y="1033"/>
                  </a:lnTo>
                  <a:lnTo>
                    <a:pt x="94" y="1033"/>
                  </a:lnTo>
                  <a:lnTo>
                    <a:pt x="94" y="1028"/>
                  </a:lnTo>
                  <a:lnTo>
                    <a:pt x="99" y="1028"/>
                  </a:lnTo>
                  <a:lnTo>
                    <a:pt x="99" y="1033"/>
                  </a:lnTo>
                  <a:lnTo>
                    <a:pt x="99" y="1028"/>
                  </a:lnTo>
                  <a:lnTo>
                    <a:pt x="99" y="1022"/>
                  </a:lnTo>
                  <a:lnTo>
                    <a:pt x="105" y="1011"/>
                  </a:lnTo>
                  <a:lnTo>
                    <a:pt x="105" y="1006"/>
                  </a:lnTo>
                  <a:lnTo>
                    <a:pt x="105" y="1000"/>
                  </a:lnTo>
                  <a:lnTo>
                    <a:pt x="105" y="995"/>
                  </a:lnTo>
                  <a:lnTo>
                    <a:pt x="99" y="984"/>
                  </a:lnTo>
                  <a:lnTo>
                    <a:pt x="99" y="978"/>
                  </a:lnTo>
                  <a:lnTo>
                    <a:pt x="94" y="967"/>
                  </a:lnTo>
                  <a:lnTo>
                    <a:pt x="94" y="962"/>
                  </a:lnTo>
                  <a:lnTo>
                    <a:pt x="94" y="956"/>
                  </a:lnTo>
                  <a:lnTo>
                    <a:pt x="94" y="945"/>
                  </a:lnTo>
                  <a:lnTo>
                    <a:pt x="94" y="940"/>
                  </a:lnTo>
                  <a:lnTo>
                    <a:pt x="88" y="934"/>
                  </a:lnTo>
                  <a:lnTo>
                    <a:pt x="88" y="929"/>
                  </a:lnTo>
                  <a:lnTo>
                    <a:pt x="88" y="923"/>
                  </a:lnTo>
                  <a:lnTo>
                    <a:pt x="88" y="918"/>
                  </a:lnTo>
                  <a:lnTo>
                    <a:pt x="88" y="912"/>
                  </a:lnTo>
                  <a:lnTo>
                    <a:pt x="88" y="907"/>
                  </a:lnTo>
                  <a:lnTo>
                    <a:pt x="94" y="907"/>
                  </a:lnTo>
                  <a:lnTo>
                    <a:pt x="94" y="912"/>
                  </a:lnTo>
                  <a:lnTo>
                    <a:pt x="105" y="907"/>
                  </a:lnTo>
                  <a:lnTo>
                    <a:pt x="110" y="901"/>
                  </a:lnTo>
                  <a:lnTo>
                    <a:pt x="110" y="896"/>
                  </a:lnTo>
                  <a:lnTo>
                    <a:pt x="110" y="890"/>
                  </a:lnTo>
                  <a:lnTo>
                    <a:pt x="105" y="890"/>
                  </a:lnTo>
                  <a:lnTo>
                    <a:pt x="110" y="885"/>
                  </a:lnTo>
                  <a:lnTo>
                    <a:pt x="110" y="879"/>
                  </a:lnTo>
                  <a:lnTo>
                    <a:pt x="110" y="885"/>
                  </a:lnTo>
                  <a:lnTo>
                    <a:pt x="116" y="885"/>
                  </a:lnTo>
                  <a:lnTo>
                    <a:pt x="116" y="879"/>
                  </a:lnTo>
                  <a:lnTo>
                    <a:pt x="116" y="874"/>
                  </a:lnTo>
                  <a:lnTo>
                    <a:pt x="121" y="879"/>
                  </a:lnTo>
                  <a:lnTo>
                    <a:pt x="121" y="874"/>
                  </a:lnTo>
                  <a:lnTo>
                    <a:pt x="121" y="868"/>
                  </a:lnTo>
                  <a:lnTo>
                    <a:pt x="121" y="863"/>
                  </a:lnTo>
                  <a:lnTo>
                    <a:pt x="127" y="857"/>
                  </a:lnTo>
                  <a:lnTo>
                    <a:pt x="127" y="852"/>
                  </a:lnTo>
                  <a:lnTo>
                    <a:pt x="127" y="846"/>
                  </a:lnTo>
                  <a:lnTo>
                    <a:pt x="132" y="846"/>
                  </a:lnTo>
                  <a:lnTo>
                    <a:pt x="132" y="841"/>
                  </a:lnTo>
                  <a:lnTo>
                    <a:pt x="132" y="835"/>
                  </a:lnTo>
                  <a:lnTo>
                    <a:pt x="132" y="830"/>
                  </a:lnTo>
                  <a:lnTo>
                    <a:pt x="138" y="830"/>
                  </a:lnTo>
                  <a:lnTo>
                    <a:pt x="138" y="824"/>
                  </a:lnTo>
                  <a:lnTo>
                    <a:pt x="143" y="824"/>
                  </a:lnTo>
                  <a:lnTo>
                    <a:pt x="143" y="819"/>
                  </a:lnTo>
                  <a:lnTo>
                    <a:pt x="149" y="813"/>
                  </a:lnTo>
                  <a:lnTo>
                    <a:pt x="149" y="802"/>
                  </a:lnTo>
                  <a:lnTo>
                    <a:pt x="154" y="797"/>
                  </a:lnTo>
                  <a:lnTo>
                    <a:pt x="154" y="791"/>
                  </a:lnTo>
                  <a:lnTo>
                    <a:pt x="160" y="791"/>
                  </a:lnTo>
                  <a:lnTo>
                    <a:pt x="160" y="786"/>
                  </a:lnTo>
                  <a:lnTo>
                    <a:pt x="160" y="780"/>
                  </a:lnTo>
                  <a:lnTo>
                    <a:pt x="160" y="775"/>
                  </a:lnTo>
                  <a:lnTo>
                    <a:pt x="160" y="769"/>
                  </a:lnTo>
                  <a:lnTo>
                    <a:pt x="160" y="764"/>
                  </a:lnTo>
                  <a:lnTo>
                    <a:pt x="165" y="764"/>
                  </a:lnTo>
                  <a:lnTo>
                    <a:pt x="165" y="758"/>
                  </a:lnTo>
                  <a:lnTo>
                    <a:pt x="165" y="753"/>
                  </a:lnTo>
                  <a:lnTo>
                    <a:pt x="171" y="747"/>
                  </a:lnTo>
                  <a:lnTo>
                    <a:pt x="176" y="747"/>
                  </a:lnTo>
                  <a:lnTo>
                    <a:pt x="176" y="742"/>
                  </a:lnTo>
                  <a:lnTo>
                    <a:pt x="176" y="736"/>
                  </a:lnTo>
                  <a:lnTo>
                    <a:pt x="171" y="731"/>
                  </a:lnTo>
                  <a:lnTo>
                    <a:pt x="176" y="731"/>
                  </a:lnTo>
                  <a:lnTo>
                    <a:pt x="176" y="725"/>
                  </a:lnTo>
                  <a:lnTo>
                    <a:pt x="171" y="725"/>
                  </a:lnTo>
                  <a:lnTo>
                    <a:pt x="171" y="720"/>
                  </a:lnTo>
                  <a:lnTo>
                    <a:pt x="176" y="714"/>
                  </a:lnTo>
                  <a:lnTo>
                    <a:pt x="176" y="709"/>
                  </a:lnTo>
                  <a:lnTo>
                    <a:pt x="182" y="709"/>
                  </a:lnTo>
                  <a:lnTo>
                    <a:pt x="176" y="703"/>
                  </a:lnTo>
                  <a:lnTo>
                    <a:pt x="182" y="703"/>
                  </a:lnTo>
                  <a:lnTo>
                    <a:pt x="182" y="698"/>
                  </a:lnTo>
                  <a:lnTo>
                    <a:pt x="182" y="692"/>
                  </a:lnTo>
                  <a:lnTo>
                    <a:pt x="182" y="687"/>
                  </a:lnTo>
                  <a:lnTo>
                    <a:pt x="187" y="687"/>
                  </a:lnTo>
                  <a:lnTo>
                    <a:pt x="182" y="681"/>
                  </a:lnTo>
                  <a:lnTo>
                    <a:pt x="182" y="676"/>
                  </a:lnTo>
                  <a:lnTo>
                    <a:pt x="182" y="665"/>
                  </a:lnTo>
                  <a:lnTo>
                    <a:pt x="182" y="659"/>
                  </a:lnTo>
                  <a:lnTo>
                    <a:pt x="176" y="659"/>
                  </a:lnTo>
                  <a:lnTo>
                    <a:pt x="182" y="659"/>
                  </a:lnTo>
                  <a:lnTo>
                    <a:pt x="176" y="648"/>
                  </a:lnTo>
                  <a:lnTo>
                    <a:pt x="176" y="626"/>
                  </a:lnTo>
                  <a:lnTo>
                    <a:pt x="176" y="621"/>
                  </a:lnTo>
                  <a:lnTo>
                    <a:pt x="171" y="621"/>
                  </a:lnTo>
                  <a:lnTo>
                    <a:pt x="171" y="610"/>
                  </a:lnTo>
                  <a:lnTo>
                    <a:pt x="171" y="604"/>
                  </a:lnTo>
                  <a:lnTo>
                    <a:pt x="171" y="593"/>
                  </a:lnTo>
                  <a:lnTo>
                    <a:pt x="176" y="588"/>
                  </a:lnTo>
                  <a:lnTo>
                    <a:pt x="182" y="588"/>
                  </a:lnTo>
                  <a:lnTo>
                    <a:pt x="182" y="582"/>
                  </a:lnTo>
                  <a:lnTo>
                    <a:pt x="187" y="582"/>
                  </a:lnTo>
                  <a:lnTo>
                    <a:pt x="187" y="577"/>
                  </a:lnTo>
                  <a:lnTo>
                    <a:pt x="182" y="577"/>
                  </a:lnTo>
                  <a:lnTo>
                    <a:pt x="187" y="571"/>
                  </a:lnTo>
                  <a:lnTo>
                    <a:pt x="193" y="571"/>
                  </a:lnTo>
                  <a:lnTo>
                    <a:pt x="193" y="566"/>
                  </a:lnTo>
                  <a:lnTo>
                    <a:pt x="187" y="566"/>
                  </a:lnTo>
                  <a:lnTo>
                    <a:pt x="187" y="560"/>
                  </a:lnTo>
                  <a:lnTo>
                    <a:pt x="193" y="555"/>
                  </a:lnTo>
                  <a:lnTo>
                    <a:pt x="187" y="555"/>
                  </a:lnTo>
                  <a:lnTo>
                    <a:pt x="187" y="549"/>
                  </a:lnTo>
                  <a:lnTo>
                    <a:pt x="187" y="544"/>
                  </a:lnTo>
                  <a:lnTo>
                    <a:pt x="182" y="538"/>
                  </a:lnTo>
                  <a:lnTo>
                    <a:pt x="182" y="533"/>
                  </a:lnTo>
                  <a:lnTo>
                    <a:pt x="182" y="527"/>
                  </a:lnTo>
                  <a:lnTo>
                    <a:pt x="182" y="522"/>
                  </a:lnTo>
                  <a:lnTo>
                    <a:pt x="187" y="522"/>
                  </a:lnTo>
                  <a:lnTo>
                    <a:pt x="187" y="516"/>
                  </a:lnTo>
                  <a:lnTo>
                    <a:pt x="193" y="511"/>
                  </a:lnTo>
                  <a:lnTo>
                    <a:pt x="187" y="511"/>
                  </a:lnTo>
                  <a:lnTo>
                    <a:pt x="193" y="505"/>
                  </a:lnTo>
                  <a:lnTo>
                    <a:pt x="198" y="500"/>
                  </a:lnTo>
                  <a:lnTo>
                    <a:pt x="193" y="494"/>
                  </a:lnTo>
                  <a:lnTo>
                    <a:pt x="198" y="494"/>
                  </a:lnTo>
                  <a:lnTo>
                    <a:pt x="198" y="489"/>
                  </a:lnTo>
                  <a:lnTo>
                    <a:pt x="198" y="478"/>
                  </a:lnTo>
                  <a:lnTo>
                    <a:pt x="198" y="472"/>
                  </a:lnTo>
                  <a:lnTo>
                    <a:pt x="204" y="467"/>
                  </a:lnTo>
                  <a:lnTo>
                    <a:pt x="209" y="467"/>
                  </a:lnTo>
                  <a:lnTo>
                    <a:pt x="209" y="461"/>
                  </a:lnTo>
                  <a:lnTo>
                    <a:pt x="204" y="456"/>
                  </a:lnTo>
                  <a:lnTo>
                    <a:pt x="204" y="450"/>
                  </a:lnTo>
                  <a:lnTo>
                    <a:pt x="204" y="445"/>
                  </a:lnTo>
                  <a:lnTo>
                    <a:pt x="204" y="439"/>
                  </a:lnTo>
                  <a:lnTo>
                    <a:pt x="209" y="445"/>
                  </a:lnTo>
                  <a:lnTo>
                    <a:pt x="209" y="439"/>
                  </a:lnTo>
                  <a:lnTo>
                    <a:pt x="215" y="434"/>
                  </a:lnTo>
                  <a:lnTo>
                    <a:pt x="209" y="434"/>
                  </a:lnTo>
                  <a:lnTo>
                    <a:pt x="215" y="423"/>
                  </a:lnTo>
                  <a:lnTo>
                    <a:pt x="215" y="417"/>
                  </a:lnTo>
                  <a:lnTo>
                    <a:pt x="215" y="412"/>
                  </a:lnTo>
                  <a:lnTo>
                    <a:pt x="215" y="406"/>
                  </a:lnTo>
                  <a:lnTo>
                    <a:pt x="220" y="406"/>
                  </a:lnTo>
                  <a:lnTo>
                    <a:pt x="220" y="401"/>
                  </a:lnTo>
                  <a:lnTo>
                    <a:pt x="220" y="395"/>
                  </a:lnTo>
                  <a:lnTo>
                    <a:pt x="220" y="390"/>
                  </a:lnTo>
                  <a:lnTo>
                    <a:pt x="215" y="384"/>
                  </a:lnTo>
                  <a:lnTo>
                    <a:pt x="215" y="379"/>
                  </a:lnTo>
                  <a:lnTo>
                    <a:pt x="215" y="373"/>
                  </a:lnTo>
                  <a:lnTo>
                    <a:pt x="220" y="373"/>
                  </a:lnTo>
                  <a:lnTo>
                    <a:pt x="220" y="368"/>
                  </a:lnTo>
                  <a:lnTo>
                    <a:pt x="226" y="362"/>
                  </a:lnTo>
                  <a:lnTo>
                    <a:pt x="226" y="351"/>
                  </a:lnTo>
                  <a:lnTo>
                    <a:pt x="226" y="346"/>
                  </a:lnTo>
                  <a:lnTo>
                    <a:pt x="226" y="340"/>
                  </a:lnTo>
                  <a:lnTo>
                    <a:pt x="220" y="335"/>
                  </a:lnTo>
                  <a:lnTo>
                    <a:pt x="220" y="329"/>
                  </a:lnTo>
                  <a:lnTo>
                    <a:pt x="220" y="324"/>
                  </a:lnTo>
                  <a:lnTo>
                    <a:pt x="220" y="318"/>
                  </a:lnTo>
                  <a:lnTo>
                    <a:pt x="226" y="313"/>
                  </a:lnTo>
                  <a:lnTo>
                    <a:pt x="220" y="313"/>
                  </a:lnTo>
                  <a:lnTo>
                    <a:pt x="226" y="307"/>
                  </a:lnTo>
                  <a:lnTo>
                    <a:pt x="226" y="302"/>
                  </a:lnTo>
                  <a:lnTo>
                    <a:pt x="226" y="296"/>
                  </a:lnTo>
                  <a:lnTo>
                    <a:pt x="226" y="291"/>
                  </a:lnTo>
                  <a:lnTo>
                    <a:pt x="226" y="285"/>
                  </a:lnTo>
                  <a:lnTo>
                    <a:pt x="231" y="280"/>
                  </a:lnTo>
                  <a:lnTo>
                    <a:pt x="226" y="274"/>
                  </a:lnTo>
                  <a:lnTo>
                    <a:pt x="220" y="274"/>
                  </a:lnTo>
                  <a:lnTo>
                    <a:pt x="220" y="269"/>
                  </a:lnTo>
                  <a:lnTo>
                    <a:pt x="220" y="263"/>
                  </a:lnTo>
                  <a:lnTo>
                    <a:pt x="220" y="258"/>
                  </a:lnTo>
                  <a:lnTo>
                    <a:pt x="226" y="252"/>
                  </a:lnTo>
                  <a:lnTo>
                    <a:pt x="226" y="258"/>
                  </a:lnTo>
                  <a:lnTo>
                    <a:pt x="231" y="258"/>
                  </a:lnTo>
                  <a:lnTo>
                    <a:pt x="231" y="252"/>
                  </a:lnTo>
                  <a:lnTo>
                    <a:pt x="237" y="247"/>
                  </a:lnTo>
                  <a:lnTo>
                    <a:pt x="231" y="241"/>
                  </a:lnTo>
                  <a:lnTo>
                    <a:pt x="237" y="236"/>
                  </a:lnTo>
                  <a:lnTo>
                    <a:pt x="237" y="230"/>
                  </a:lnTo>
                  <a:lnTo>
                    <a:pt x="237" y="225"/>
                  </a:lnTo>
                  <a:lnTo>
                    <a:pt x="237" y="219"/>
                  </a:lnTo>
                  <a:lnTo>
                    <a:pt x="237" y="214"/>
                  </a:lnTo>
                  <a:lnTo>
                    <a:pt x="237" y="208"/>
                  </a:lnTo>
                  <a:lnTo>
                    <a:pt x="237" y="203"/>
                  </a:lnTo>
                  <a:lnTo>
                    <a:pt x="242" y="197"/>
                  </a:lnTo>
                  <a:lnTo>
                    <a:pt x="242" y="192"/>
                  </a:lnTo>
                  <a:lnTo>
                    <a:pt x="242" y="186"/>
                  </a:lnTo>
                  <a:lnTo>
                    <a:pt x="242" y="181"/>
                  </a:lnTo>
                  <a:lnTo>
                    <a:pt x="242" y="175"/>
                  </a:lnTo>
                  <a:lnTo>
                    <a:pt x="242" y="170"/>
                  </a:lnTo>
                  <a:lnTo>
                    <a:pt x="242" y="164"/>
                  </a:lnTo>
                  <a:lnTo>
                    <a:pt x="237" y="159"/>
                  </a:lnTo>
                  <a:lnTo>
                    <a:pt x="242" y="159"/>
                  </a:lnTo>
                  <a:lnTo>
                    <a:pt x="242" y="153"/>
                  </a:lnTo>
                  <a:lnTo>
                    <a:pt x="237" y="153"/>
                  </a:lnTo>
                  <a:lnTo>
                    <a:pt x="237" y="148"/>
                  </a:lnTo>
                  <a:lnTo>
                    <a:pt x="237" y="142"/>
                  </a:lnTo>
                  <a:lnTo>
                    <a:pt x="237" y="137"/>
                  </a:lnTo>
                  <a:lnTo>
                    <a:pt x="237" y="131"/>
                  </a:lnTo>
                  <a:lnTo>
                    <a:pt x="242" y="126"/>
                  </a:lnTo>
                  <a:lnTo>
                    <a:pt x="237" y="120"/>
                  </a:lnTo>
                  <a:lnTo>
                    <a:pt x="242" y="120"/>
                  </a:lnTo>
                  <a:lnTo>
                    <a:pt x="242" y="115"/>
                  </a:lnTo>
                  <a:lnTo>
                    <a:pt x="242" y="109"/>
                  </a:lnTo>
                  <a:lnTo>
                    <a:pt x="237" y="104"/>
                  </a:lnTo>
                  <a:lnTo>
                    <a:pt x="242" y="104"/>
                  </a:lnTo>
                  <a:lnTo>
                    <a:pt x="242" y="98"/>
                  </a:lnTo>
                  <a:lnTo>
                    <a:pt x="237" y="98"/>
                  </a:lnTo>
                  <a:lnTo>
                    <a:pt x="237" y="93"/>
                  </a:lnTo>
                  <a:lnTo>
                    <a:pt x="237" y="87"/>
                  </a:lnTo>
                  <a:lnTo>
                    <a:pt x="237" y="82"/>
                  </a:lnTo>
                  <a:lnTo>
                    <a:pt x="237" y="76"/>
                  </a:lnTo>
                  <a:lnTo>
                    <a:pt x="231" y="71"/>
                  </a:lnTo>
                  <a:lnTo>
                    <a:pt x="231" y="60"/>
                  </a:lnTo>
                  <a:lnTo>
                    <a:pt x="231" y="55"/>
                  </a:lnTo>
                  <a:lnTo>
                    <a:pt x="231" y="49"/>
                  </a:lnTo>
                  <a:lnTo>
                    <a:pt x="231" y="44"/>
                  </a:lnTo>
                  <a:lnTo>
                    <a:pt x="231" y="38"/>
                  </a:lnTo>
                  <a:close/>
                  <a:moveTo>
                    <a:pt x="226" y="1671"/>
                  </a:moveTo>
                  <a:lnTo>
                    <a:pt x="226" y="1682"/>
                  </a:lnTo>
                  <a:lnTo>
                    <a:pt x="231" y="1693"/>
                  </a:lnTo>
                  <a:lnTo>
                    <a:pt x="209" y="1682"/>
                  </a:lnTo>
                  <a:lnTo>
                    <a:pt x="220" y="1671"/>
                  </a:lnTo>
                  <a:lnTo>
                    <a:pt x="220" y="1666"/>
                  </a:lnTo>
                  <a:lnTo>
                    <a:pt x="226" y="1671"/>
                  </a:lnTo>
                  <a:close/>
                  <a:moveTo>
                    <a:pt x="253" y="1737"/>
                  </a:moveTo>
                  <a:lnTo>
                    <a:pt x="292" y="1732"/>
                  </a:lnTo>
                  <a:lnTo>
                    <a:pt x="325" y="1737"/>
                  </a:lnTo>
                  <a:lnTo>
                    <a:pt x="297" y="1737"/>
                  </a:lnTo>
                  <a:lnTo>
                    <a:pt x="330" y="1743"/>
                  </a:lnTo>
                  <a:lnTo>
                    <a:pt x="330" y="1748"/>
                  </a:lnTo>
                  <a:lnTo>
                    <a:pt x="330" y="1759"/>
                  </a:lnTo>
                  <a:lnTo>
                    <a:pt x="308" y="1754"/>
                  </a:lnTo>
                  <a:lnTo>
                    <a:pt x="292" y="1743"/>
                  </a:lnTo>
                  <a:lnTo>
                    <a:pt x="286" y="1754"/>
                  </a:lnTo>
                  <a:lnTo>
                    <a:pt x="264" y="1743"/>
                  </a:lnTo>
                  <a:lnTo>
                    <a:pt x="259" y="1743"/>
                  </a:lnTo>
                  <a:lnTo>
                    <a:pt x="248" y="1737"/>
                  </a:lnTo>
                  <a:lnTo>
                    <a:pt x="253" y="1737"/>
                  </a:lnTo>
                  <a:close/>
                  <a:moveTo>
                    <a:pt x="330" y="1732"/>
                  </a:moveTo>
                  <a:lnTo>
                    <a:pt x="341" y="1726"/>
                  </a:lnTo>
                  <a:lnTo>
                    <a:pt x="374" y="1737"/>
                  </a:lnTo>
                  <a:lnTo>
                    <a:pt x="363" y="1743"/>
                  </a:lnTo>
                  <a:lnTo>
                    <a:pt x="347" y="1737"/>
                  </a:lnTo>
                  <a:lnTo>
                    <a:pt x="330" y="1726"/>
                  </a:lnTo>
                  <a:lnTo>
                    <a:pt x="330" y="1732"/>
                  </a:lnTo>
                  <a:close/>
                  <a:moveTo>
                    <a:pt x="281" y="1622"/>
                  </a:moveTo>
                  <a:lnTo>
                    <a:pt x="314" y="1627"/>
                  </a:lnTo>
                  <a:lnTo>
                    <a:pt x="308" y="1633"/>
                  </a:lnTo>
                  <a:lnTo>
                    <a:pt x="308" y="1715"/>
                  </a:lnTo>
                  <a:lnTo>
                    <a:pt x="308" y="1721"/>
                  </a:lnTo>
                  <a:lnTo>
                    <a:pt x="297" y="1721"/>
                  </a:lnTo>
                  <a:lnTo>
                    <a:pt x="248" y="1721"/>
                  </a:lnTo>
                  <a:lnTo>
                    <a:pt x="209" y="1721"/>
                  </a:lnTo>
                  <a:lnTo>
                    <a:pt x="198" y="1715"/>
                  </a:lnTo>
                  <a:lnTo>
                    <a:pt x="198" y="1704"/>
                  </a:lnTo>
                  <a:lnTo>
                    <a:pt x="204" y="1693"/>
                  </a:lnTo>
                  <a:lnTo>
                    <a:pt x="248" y="1699"/>
                  </a:lnTo>
                  <a:lnTo>
                    <a:pt x="259" y="1699"/>
                  </a:lnTo>
                  <a:lnTo>
                    <a:pt x="248" y="1688"/>
                  </a:lnTo>
                  <a:lnTo>
                    <a:pt x="264" y="1666"/>
                  </a:lnTo>
                  <a:lnTo>
                    <a:pt x="237" y="1655"/>
                  </a:lnTo>
                  <a:lnTo>
                    <a:pt x="237" y="1638"/>
                  </a:lnTo>
                  <a:lnTo>
                    <a:pt x="248" y="1627"/>
                  </a:lnTo>
                  <a:lnTo>
                    <a:pt x="281" y="1622"/>
                  </a:lnTo>
                  <a:close/>
                  <a:moveTo>
                    <a:pt x="50" y="1633"/>
                  </a:moveTo>
                  <a:lnTo>
                    <a:pt x="77" y="1638"/>
                  </a:lnTo>
                  <a:lnTo>
                    <a:pt x="99" y="1644"/>
                  </a:lnTo>
                  <a:lnTo>
                    <a:pt x="99" y="1655"/>
                  </a:lnTo>
                  <a:lnTo>
                    <a:pt x="77" y="1644"/>
                  </a:lnTo>
                  <a:lnTo>
                    <a:pt x="50" y="1633"/>
                  </a:lnTo>
                  <a:lnTo>
                    <a:pt x="44" y="1627"/>
                  </a:lnTo>
                  <a:lnTo>
                    <a:pt x="50" y="1633"/>
                  </a:lnTo>
                  <a:close/>
                  <a:moveTo>
                    <a:pt x="99" y="1655"/>
                  </a:moveTo>
                  <a:lnTo>
                    <a:pt x="116" y="1655"/>
                  </a:lnTo>
                  <a:lnTo>
                    <a:pt x="132" y="1666"/>
                  </a:lnTo>
                  <a:lnTo>
                    <a:pt x="149" y="1671"/>
                  </a:lnTo>
                  <a:lnTo>
                    <a:pt x="138" y="1682"/>
                  </a:lnTo>
                  <a:lnTo>
                    <a:pt x="116" y="1688"/>
                  </a:lnTo>
                  <a:lnTo>
                    <a:pt x="105" y="1682"/>
                  </a:lnTo>
                  <a:lnTo>
                    <a:pt x="94" y="1671"/>
                  </a:lnTo>
                  <a:lnTo>
                    <a:pt x="88" y="1655"/>
                  </a:lnTo>
                  <a:lnTo>
                    <a:pt x="99" y="1655"/>
                  </a:lnTo>
                  <a:close/>
                  <a:moveTo>
                    <a:pt x="171" y="1682"/>
                  </a:moveTo>
                  <a:lnTo>
                    <a:pt x="187" y="1682"/>
                  </a:lnTo>
                  <a:lnTo>
                    <a:pt x="204" y="1693"/>
                  </a:lnTo>
                  <a:lnTo>
                    <a:pt x="176" y="1693"/>
                  </a:lnTo>
                  <a:lnTo>
                    <a:pt x="154" y="1688"/>
                  </a:lnTo>
                  <a:lnTo>
                    <a:pt x="160" y="1677"/>
                  </a:lnTo>
                  <a:lnTo>
                    <a:pt x="165" y="1677"/>
                  </a:lnTo>
                  <a:lnTo>
                    <a:pt x="171" y="1682"/>
                  </a:lnTo>
                  <a:close/>
                  <a:moveTo>
                    <a:pt x="77" y="1116"/>
                  </a:moveTo>
                  <a:lnTo>
                    <a:pt x="94" y="1127"/>
                  </a:lnTo>
                  <a:lnTo>
                    <a:pt x="88" y="1154"/>
                  </a:lnTo>
                  <a:lnTo>
                    <a:pt x="88" y="1171"/>
                  </a:lnTo>
                  <a:lnTo>
                    <a:pt x="77" y="1193"/>
                  </a:lnTo>
                  <a:lnTo>
                    <a:pt x="66" y="1149"/>
                  </a:lnTo>
                  <a:lnTo>
                    <a:pt x="77" y="1116"/>
                  </a:lnTo>
                  <a:close/>
                  <a:moveTo>
                    <a:pt x="33" y="1440"/>
                  </a:moveTo>
                  <a:lnTo>
                    <a:pt x="55" y="1468"/>
                  </a:lnTo>
                  <a:lnTo>
                    <a:pt x="33" y="1490"/>
                  </a:lnTo>
                  <a:lnTo>
                    <a:pt x="22" y="1468"/>
                  </a:lnTo>
                  <a:lnTo>
                    <a:pt x="22" y="1457"/>
                  </a:lnTo>
                  <a:lnTo>
                    <a:pt x="28" y="1451"/>
                  </a:lnTo>
                  <a:lnTo>
                    <a:pt x="33" y="1440"/>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sp>
          <p:nvSpPr>
            <p:cNvPr id="219" name="Freeform 15">
              <a:extLst>
                <a:ext uri="{FF2B5EF4-FFF2-40B4-BE49-F238E27FC236}">
                  <a16:creationId xmlns:a16="http://schemas.microsoft.com/office/drawing/2014/main" id="{AD0CA610-1E6B-43B0-B6C9-41864359E276}"/>
                </a:ext>
              </a:extLst>
            </p:cNvPr>
            <p:cNvSpPr>
              <a:spLocks noEditPoints="1"/>
            </p:cNvSpPr>
            <p:nvPr/>
          </p:nvSpPr>
          <p:spPr bwMode="auto">
            <a:xfrm rot="21367780">
              <a:off x="3103172" y="1900053"/>
              <a:ext cx="2993727" cy="3115362"/>
            </a:xfrm>
            <a:custGeom>
              <a:avLst/>
              <a:gdLst>
                <a:gd name="T0" fmla="*/ 1545 w 1710"/>
                <a:gd name="T1" fmla="*/ 831 h 1798"/>
                <a:gd name="T2" fmla="*/ 1600 w 1710"/>
                <a:gd name="T3" fmla="*/ 754 h 1798"/>
                <a:gd name="T4" fmla="*/ 1705 w 1710"/>
                <a:gd name="T5" fmla="*/ 605 h 1798"/>
                <a:gd name="T6" fmla="*/ 1694 w 1710"/>
                <a:gd name="T7" fmla="*/ 512 h 1798"/>
                <a:gd name="T8" fmla="*/ 1501 w 1710"/>
                <a:gd name="T9" fmla="*/ 391 h 1798"/>
                <a:gd name="T10" fmla="*/ 1408 w 1710"/>
                <a:gd name="T11" fmla="*/ 374 h 1798"/>
                <a:gd name="T12" fmla="*/ 1331 w 1710"/>
                <a:gd name="T13" fmla="*/ 358 h 1798"/>
                <a:gd name="T14" fmla="*/ 1292 w 1710"/>
                <a:gd name="T15" fmla="*/ 374 h 1798"/>
                <a:gd name="T16" fmla="*/ 1281 w 1710"/>
                <a:gd name="T17" fmla="*/ 385 h 1798"/>
                <a:gd name="T18" fmla="*/ 1281 w 1710"/>
                <a:gd name="T19" fmla="*/ 341 h 1798"/>
                <a:gd name="T20" fmla="*/ 1265 w 1710"/>
                <a:gd name="T21" fmla="*/ 314 h 1798"/>
                <a:gd name="T22" fmla="*/ 1248 w 1710"/>
                <a:gd name="T23" fmla="*/ 308 h 1798"/>
                <a:gd name="T24" fmla="*/ 1226 w 1710"/>
                <a:gd name="T25" fmla="*/ 303 h 1798"/>
                <a:gd name="T26" fmla="*/ 1210 w 1710"/>
                <a:gd name="T27" fmla="*/ 286 h 1798"/>
                <a:gd name="T28" fmla="*/ 1182 w 1710"/>
                <a:gd name="T29" fmla="*/ 281 h 1798"/>
                <a:gd name="T30" fmla="*/ 1160 w 1710"/>
                <a:gd name="T31" fmla="*/ 275 h 1798"/>
                <a:gd name="T32" fmla="*/ 1122 w 1710"/>
                <a:gd name="T33" fmla="*/ 297 h 1798"/>
                <a:gd name="T34" fmla="*/ 1067 w 1710"/>
                <a:gd name="T35" fmla="*/ 330 h 1798"/>
                <a:gd name="T36" fmla="*/ 1023 w 1710"/>
                <a:gd name="T37" fmla="*/ 330 h 1798"/>
                <a:gd name="T38" fmla="*/ 940 w 1710"/>
                <a:gd name="T39" fmla="*/ 314 h 1798"/>
                <a:gd name="T40" fmla="*/ 1050 w 1710"/>
                <a:gd name="T41" fmla="*/ 187 h 1798"/>
                <a:gd name="T42" fmla="*/ 979 w 1710"/>
                <a:gd name="T43" fmla="*/ 44 h 1798"/>
                <a:gd name="T44" fmla="*/ 885 w 1710"/>
                <a:gd name="T45" fmla="*/ 138 h 1798"/>
                <a:gd name="T46" fmla="*/ 797 w 1710"/>
                <a:gd name="T47" fmla="*/ 132 h 1798"/>
                <a:gd name="T48" fmla="*/ 682 w 1710"/>
                <a:gd name="T49" fmla="*/ 171 h 1798"/>
                <a:gd name="T50" fmla="*/ 627 w 1710"/>
                <a:gd name="T51" fmla="*/ 61 h 1798"/>
                <a:gd name="T52" fmla="*/ 572 w 1710"/>
                <a:gd name="T53" fmla="*/ 22 h 1798"/>
                <a:gd name="T54" fmla="*/ 462 w 1710"/>
                <a:gd name="T55" fmla="*/ 66 h 1798"/>
                <a:gd name="T56" fmla="*/ 462 w 1710"/>
                <a:gd name="T57" fmla="*/ 143 h 1798"/>
                <a:gd name="T58" fmla="*/ 346 w 1710"/>
                <a:gd name="T59" fmla="*/ 204 h 1798"/>
                <a:gd name="T60" fmla="*/ 203 w 1710"/>
                <a:gd name="T61" fmla="*/ 193 h 1798"/>
                <a:gd name="T62" fmla="*/ 198 w 1710"/>
                <a:gd name="T63" fmla="*/ 292 h 1798"/>
                <a:gd name="T64" fmla="*/ 132 w 1710"/>
                <a:gd name="T65" fmla="*/ 440 h 1798"/>
                <a:gd name="T66" fmla="*/ 55 w 1710"/>
                <a:gd name="T67" fmla="*/ 479 h 1798"/>
                <a:gd name="T68" fmla="*/ 22 w 1710"/>
                <a:gd name="T69" fmla="*/ 627 h 1798"/>
                <a:gd name="T70" fmla="*/ 148 w 1710"/>
                <a:gd name="T71" fmla="*/ 682 h 1798"/>
                <a:gd name="T72" fmla="*/ 291 w 1710"/>
                <a:gd name="T73" fmla="*/ 721 h 1798"/>
                <a:gd name="T74" fmla="*/ 379 w 1710"/>
                <a:gd name="T75" fmla="*/ 748 h 1798"/>
                <a:gd name="T76" fmla="*/ 473 w 1710"/>
                <a:gd name="T77" fmla="*/ 825 h 1798"/>
                <a:gd name="T78" fmla="*/ 594 w 1710"/>
                <a:gd name="T79" fmla="*/ 902 h 1798"/>
                <a:gd name="T80" fmla="*/ 709 w 1710"/>
                <a:gd name="T81" fmla="*/ 1122 h 1798"/>
                <a:gd name="T82" fmla="*/ 704 w 1710"/>
                <a:gd name="T83" fmla="*/ 1243 h 1798"/>
                <a:gd name="T84" fmla="*/ 759 w 1710"/>
                <a:gd name="T85" fmla="*/ 1270 h 1798"/>
                <a:gd name="T86" fmla="*/ 852 w 1710"/>
                <a:gd name="T87" fmla="*/ 1347 h 1798"/>
                <a:gd name="T88" fmla="*/ 880 w 1710"/>
                <a:gd name="T89" fmla="*/ 1441 h 1798"/>
                <a:gd name="T90" fmla="*/ 836 w 1710"/>
                <a:gd name="T91" fmla="*/ 1512 h 1798"/>
                <a:gd name="T92" fmla="*/ 770 w 1710"/>
                <a:gd name="T93" fmla="*/ 1573 h 1798"/>
                <a:gd name="T94" fmla="*/ 786 w 1710"/>
                <a:gd name="T95" fmla="*/ 1677 h 1798"/>
                <a:gd name="T96" fmla="*/ 902 w 1710"/>
                <a:gd name="T97" fmla="*/ 1760 h 1798"/>
                <a:gd name="T98" fmla="*/ 957 w 1710"/>
                <a:gd name="T99" fmla="*/ 1699 h 1798"/>
                <a:gd name="T100" fmla="*/ 990 w 1710"/>
                <a:gd name="T101" fmla="*/ 1639 h 1798"/>
                <a:gd name="T102" fmla="*/ 1001 w 1710"/>
                <a:gd name="T103" fmla="*/ 1666 h 1798"/>
                <a:gd name="T104" fmla="*/ 1089 w 1710"/>
                <a:gd name="T105" fmla="*/ 1567 h 1798"/>
                <a:gd name="T106" fmla="*/ 1111 w 1710"/>
                <a:gd name="T107" fmla="*/ 1496 h 1798"/>
                <a:gd name="T108" fmla="*/ 1116 w 1710"/>
                <a:gd name="T109" fmla="*/ 1419 h 1798"/>
                <a:gd name="T110" fmla="*/ 1127 w 1710"/>
                <a:gd name="T111" fmla="*/ 1413 h 1798"/>
                <a:gd name="T112" fmla="*/ 1215 w 1710"/>
                <a:gd name="T113" fmla="*/ 1347 h 1798"/>
                <a:gd name="T114" fmla="*/ 1287 w 1710"/>
                <a:gd name="T115" fmla="*/ 1320 h 1798"/>
                <a:gd name="T116" fmla="*/ 1325 w 1710"/>
                <a:gd name="T117" fmla="*/ 1303 h 1798"/>
                <a:gd name="T118" fmla="*/ 1397 w 1710"/>
                <a:gd name="T119" fmla="*/ 1292 h 1798"/>
                <a:gd name="T120" fmla="*/ 1474 w 1710"/>
                <a:gd name="T121" fmla="*/ 1160 h 1798"/>
                <a:gd name="T122" fmla="*/ 1529 w 1710"/>
                <a:gd name="T123" fmla="*/ 886 h 1798"/>
                <a:gd name="T124" fmla="*/ 1023 w 1710"/>
                <a:gd name="T125" fmla="*/ 259 h 179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710"/>
                <a:gd name="T190" fmla="*/ 0 h 1798"/>
                <a:gd name="T191" fmla="*/ 1710 w 1710"/>
                <a:gd name="T192" fmla="*/ 1798 h 179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710" h="1798">
                  <a:moveTo>
                    <a:pt x="1529" y="875"/>
                  </a:moveTo>
                  <a:lnTo>
                    <a:pt x="1529" y="875"/>
                  </a:lnTo>
                  <a:lnTo>
                    <a:pt x="1523" y="864"/>
                  </a:lnTo>
                  <a:lnTo>
                    <a:pt x="1523" y="869"/>
                  </a:lnTo>
                  <a:lnTo>
                    <a:pt x="1518" y="869"/>
                  </a:lnTo>
                  <a:lnTo>
                    <a:pt x="1523" y="869"/>
                  </a:lnTo>
                  <a:lnTo>
                    <a:pt x="1523" y="858"/>
                  </a:lnTo>
                  <a:lnTo>
                    <a:pt x="1529" y="858"/>
                  </a:lnTo>
                  <a:lnTo>
                    <a:pt x="1529" y="853"/>
                  </a:lnTo>
                  <a:lnTo>
                    <a:pt x="1534" y="847"/>
                  </a:lnTo>
                  <a:lnTo>
                    <a:pt x="1529" y="847"/>
                  </a:lnTo>
                  <a:lnTo>
                    <a:pt x="1534" y="842"/>
                  </a:lnTo>
                  <a:lnTo>
                    <a:pt x="1540" y="836"/>
                  </a:lnTo>
                  <a:lnTo>
                    <a:pt x="1534" y="836"/>
                  </a:lnTo>
                  <a:lnTo>
                    <a:pt x="1529" y="831"/>
                  </a:lnTo>
                  <a:lnTo>
                    <a:pt x="1529" y="825"/>
                  </a:lnTo>
                  <a:lnTo>
                    <a:pt x="1534" y="825"/>
                  </a:lnTo>
                  <a:lnTo>
                    <a:pt x="1529" y="831"/>
                  </a:lnTo>
                  <a:lnTo>
                    <a:pt x="1534" y="836"/>
                  </a:lnTo>
                  <a:lnTo>
                    <a:pt x="1534" y="831"/>
                  </a:lnTo>
                  <a:lnTo>
                    <a:pt x="1540" y="825"/>
                  </a:lnTo>
                  <a:lnTo>
                    <a:pt x="1540" y="831"/>
                  </a:lnTo>
                  <a:lnTo>
                    <a:pt x="1545" y="831"/>
                  </a:lnTo>
                  <a:lnTo>
                    <a:pt x="1545" y="842"/>
                  </a:lnTo>
                  <a:lnTo>
                    <a:pt x="1556" y="842"/>
                  </a:lnTo>
                  <a:lnTo>
                    <a:pt x="1567" y="825"/>
                  </a:lnTo>
                  <a:lnTo>
                    <a:pt x="1573" y="814"/>
                  </a:lnTo>
                  <a:lnTo>
                    <a:pt x="1584" y="798"/>
                  </a:lnTo>
                  <a:lnTo>
                    <a:pt x="1595" y="776"/>
                  </a:lnTo>
                  <a:lnTo>
                    <a:pt x="1595" y="770"/>
                  </a:lnTo>
                  <a:lnTo>
                    <a:pt x="1589" y="776"/>
                  </a:lnTo>
                  <a:lnTo>
                    <a:pt x="1595" y="770"/>
                  </a:lnTo>
                  <a:lnTo>
                    <a:pt x="1589" y="765"/>
                  </a:lnTo>
                  <a:lnTo>
                    <a:pt x="1595" y="770"/>
                  </a:lnTo>
                  <a:lnTo>
                    <a:pt x="1595" y="765"/>
                  </a:lnTo>
                  <a:lnTo>
                    <a:pt x="1595" y="770"/>
                  </a:lnTo>
                  <a:lnTo>
                    <a:pt x="1595" y="765"/>
                  </a:lnTo>
                  <a:lnTo>
                    <a:pt x="1595" y="759"/>
                  </a:lnTo>
                  <a:lnTo>
                    <a:pt x="1600" y="759"/>
                  </a:lnTo>
                  <a:lnTo>
                    <a:pt x="1595" y="759"/>
                  </a:lnTo>
                  <a:lnTo>
                    <a:pt x="1600" y="759"/>
                  </a:lnTo>
                  <a:lnTo>
                    <a:pt x="1595" y="765"/>
                  </a:lnTo>
                  <a:lnTo>
                    <a:pt x="1595" y="770"/>
                  </a:lnTo>
                  <a:lnTo>
                    <a:pt x="1606" y="759"/>
                  </a:lnTo>
                  <a:lnTo>
                    <a:pt x="1606" y="754"/>
                  </a:lnTo>
                  <a:lnTo>
                    <a:pt x="1600" y="754"/>
                  </a:lnTo>
                  <a:lnTo>
                    <a:pt x="1606" y="754"/>
                  </a:lnTo>
                  <a:lnTo>
                    <a:pt x="1611" y="748"/>
                  </a:lnTo>
                  <a:lnTo>
                    <a:pt x="1617" y="737"/>
                  </a:lnTo>
                  <a:lnTo>
                    <a:pt x="1633" y="732"/>
                  </a:lnTo>
                  <a:lnTo>
                    <a:pt x="1639" y="726"/>
                  </a:lnTo>
                  <a:lnTo>
                    <a:pt x="1644" y="721"/>
                  </a:lnTo>
                  <a:lnTo>
                    <a:pt x="1644" y="715"/>
                  </a:lnTo>
                  <a:lnTo>
                    <a:pt x="1655" y="710"/>
                  </a:lnTo>
                  <a:lnTo>
                    <a:pt x="1666" y="693"/>
                  </a:lnTo>
                  <a:lnTo>
                    <a:pt x="1661" y="693"/>
                  </a:lnTo>
                  <a:lnTo>
                    <a:pt x="1661" y="688"/>
                  </a:lnTo>
                  <a:lnTo>
                    <a:pt x="1661" y="693"/>
                  </a:lnTo>
                  <a:lnTo>
                    <a:pt x="1666" y="688"/>
                  </a:lnTo>
                  <a:lnTo>
                    <a:pt x="1672" y="688"/>
                  </a:lnTo>
                  <a:lnTo>
                    <a:pt x="1688" y="666"/>
                  </a:lnTo>
                  <a:lnTo>
                    <a:pt x="1694" y="655"/>
                  </a:lnTo>
                  <a:lnTo>
                    <a:pt x="1694" y="638"/>
                  </a:lnTo>
                  <a:lnTo>
                    <a:pt x="1699" y="638"/>
                  </a:lnTo>
                  <a:lnTo>
                    <a:pt x="1705" y="616"/>
                  </a:lnTo>
                  <a:lnTo>
                    <a:pt x="1699" y="616"/>
                  </a:lnTo>
                  <a:lnTo>
                    <a:pt x="1705" y="616"/>
                  </a:lnTo>
                  <a:lnTo>
                    <a:pt x="1705" y="611"/>
                  </a:lnTo>
                  <a:lnTo>
                    <a:pt x="1705" y="605"/>
                  </a:lnTo>
                  <a:lnTo>
                    <a:pt x="1705" y="600"/>
                  </a:lnTo>
                  <a:lnTo>
                    <a:pt x="1705" y="594"/>
                  </a:lnTo>
                  <a:lnTo>
                    <a:pt x="1705" y="600"/>
                  </a:lnTo>
                  <a:lnTo>
                    <a:pt x="1710" y="594"/>
                  </a:lnTo>
                  <a:lnTo>
                    <a:pt x="1705" y="594"/>
                  </a:lnTo>
                  <a:lnTo>
                    <a:pt x="1705" y="589"/>
                  </a:lnTo>
                  <a:lnTo>
                    <a:pt x="1699" y="594"/>
                  </a:lnTo>
                  <a:lnTo>
                    <a:pt x="1705" y="589"/>
                  </a:lnTo>
                  <a:lnTo>
                    <a:pt x="1710" y="578"/>
                  </a:lnTo>
                  <a:lnTo>
                    <a:pt x="1710" y="572"/>
                  </a:lnTo>
                  <a:lnTo>
                    <a:pt x="1705" y="572"/>
                  </a:lnTo>
                  <a:lnTo>
                    <a:pt x="1705" y="567"/>
                  </a:lnTo>
                  <a:lnTo>
                    <a:pt x="1705" y="572"/>
                  </a:lnTo>
                  <a:lnTo>
                    <a:pt x="1705" y="561"/>
                  </a:lnTo>
                  <a:lnTo>
                    <a:pt x="1699" y="556"/>
                  </a:lnTo>
                  <a:lnTo>
                    <a:pt x="1699" y="550"/>
                  </a:lnTo>
                  <a:lnTo>
                    <a:pt x="1699" y="528"/>
                  </a:lnTo>
                  <a:lnTo>
                    <a:pt x="1694" y="528"/>
                  </a:lnTo>
                  <a:lnTo>
                    <a:pt x="1694" y="517"/>
                  </a:lnTo>
                  <a:lnTo>
                    <a:pt x="1694" y="512"/>
                  </a:lnTo>
                  <a:lnTo>
                    <a:pt x="1688" y="495"/>
                  </a:lnTo>
                  <a:lnTo>
                    <a:pt x="1683" y="484"/>
                  </a:lnTo>
                  <a:lnTo>
                    <a:pt x="1677" y="479"/>
                  </a:lnTo>
                  <a:lnTo>
                    <a:pt x="1672" y="479"/>
                  </a:lnTo>
                  <a:lnTo>
                    <a:pt x="1655" y="473"/>
                  </a:lnTo>
                  <a:lnTo>
                    <a:pt x="1644" y="479"/>
                  </a:lnTo>
                  <a:lnTo>
                    <a:pt x="1633" y="479"/>
                  </a:lnTo>
                  <a:lnTo>
                    <a:pt x="1622" y="479"/>
                  </a:lnTo>
                  <a:lnTo>
                    <a:pt x="1617" y="473"/>
                  </a:lnTo>
                  <a:lnTo>
                    <a:pt x="1606" y="468"/>
                  </a:lnTo>
                  <a:lnTo>
                    <a:pt x="1600" y="462"/>
                  </a:lnTo>
                  <a:lnTo>
                    <a:pt x="1589" y="457"/>
                  </a:lnTo>
                  <a:lnTo>
                    <a:pt x="1578" y="451"/>
                  </a:lnTo>
                  <a:lnTo>
                    <a:pt x="1578" y="446"/>
                  </a:lnTo>
                  <a:lnTo>
                    <a:pt x="1573" y="446"/>
                  </a:lnTo>
                  <a:lnTo>
                    <a:pt x="1562" y="429"/>
                  </a:lnTo>
                  <a:lnTo>
                    <a:pt x="1556" y="424"/>
                  </a:lnTo>
                  <a:lnTo>
                    <a:pt x="1551" y="413"/>
                  </a:lnTo>
                  <a:lnTo>
                    <a:pt x="1545" y="413"/>
                  </a:lnTo>
                  <a:lnTo>
                    <a:pt x="1540" y="413"/>
                  </a:lnTo>
                  <a:lnTo>
                    <a:pt x="1534" y="407"/>
                  </a:lnTo>
                  <a:lnTo>
                    <a:pt x="1529" y="402"/>
                  </a:lnTo>
                  <a:lnTo>
                    <a:pt x="1523" y="396"/>
                  </a:lnTo>
                  <a:lnTo>
                    <a:pt x="1518" y="396"/>
                  </a:lnTo>
                  <a:lnTo>
                    <a:pt x="1512" y="391"/>
                  </a:lnTo>
                  <a:lnTo>
                    <a:pt x="1501" y="391"/>
                  </a:lnTo>
                  <a:lnTo>
                    <a:pt x="1496" y="380"/>
                  </a:lnTo>
                  <a:lnTo>
                    <a:pt x="1496" y="385"/>
                  </a:lnTo>
                  <a:lnTo>
                    <a:pt x="1496" y="380"/>
                  </a:lnTo>
                  <a:lnTo>
                    <a:pt x="1479" y="374"/>
                  </a:lnTo>
                  <a:lnTo>
                    <a:pt x="1474" y="374"/>
                  </a:lnTo>
                  <a:lnTo>
                    <a:pt x="1468" y="374"/>
                  </a:lnTo>
                  <a:lnTo>
                    <a:pt x="1463" y="374"/>
                  </a:lnTo>
                  <a:lnTo>
                    <a:pt x="1463" y="369"/>
                  </a:lnTo>
                  <a:lnTo>
                    <a:pt x="1457" y="374"/>
                  </a:lnTo>
                  <a:lnTo>
                    <a:pt x="1452" y="374"/>
                  </a:lnTo>
                  <a:lnTo>
                    <a:pt x="1446" y="374"/>
                  </a:lnTo>
                  <a:lnTo>
                    <a:pt x="1441" y="374"/>
                  </a:lnTo>
                  <a:lnTo>
                    <a:pt x="1435" y="374"/>
                  </a:lnTo>
                  <a:lnTo>
                    <a:pt x="1435" y="380"/>
                  </a:lnTo>
                  <a:lnTo>
                    <a:pt x="1430" y="374"/>
                  </a:lnTo>
                  <a:lnTo>
                    <a:pt x="1424" y="374"/>
                  </a:lnTo>
                  <a:lnTo>
                    <a:pt x="1424" y="380"/>
                  </a:lnTo>
                  <a:lnTo>
                    <a:pt x="1430" y="380"/>
                  </a:lnTo>
                  <a:lnTo>
                    <a:pt x="1424" y="380"/>
                  </a:lnTo>
                  <a:lnTo>
                    <a:pt x="1419" y="374"/>
                  </a:lnTo>
                  <a:lnTo>
                    <a:pt x="1419" y="380"/>
                  </a:lnTo>
                  <a:lnTo>
                    <a:pt x="1419" y="374"/>
                  </a:lnTo>
                  <a:lnTo>
                    <a:pt x="1413" y="374"/>
                  </a:lnTo>
                  <a:lnTo>
                    <a:pt x="1408" y="374"/>
                  </a:lnTo>
                  <a:lnTo>
                    <a:pt x="1402" y="369"/>
                  </a:lnTo>
                  <a:lnTo>
                    <a:pt x="1391" y="369"/>
                  </a:lnTo>
                  <a:lnTo>
                    <a:pt x="1397" y="369"/>
                  </a:lnTo>
                  <a:lnTo>
                    <a:pt x="1397" y="374"/>
                  </a:lnTo>
                  <a:lnTo>
                    <a:pt x="1391" y="374"/>
                  </a:lnTo>
                  <a:lnTo>
                    <a:pt x="1386" y="374"/>
                  </a:lnTo>
                  <a:lnTo>
                    <a:pt x="1380" y="374"/>
                  </a:lnTo>
                  <a:lnTo>
                    <a:pt x="1380" y="369"/>
                  </a:lnTo>
                  <a:lnTo>
                    <a:pt x="1375" y="369"/>
                  </a:lnTo>
                  <a:lnTo>
                    <a:pt x="1375" y="363"/>
                  </a:lnTo>
                  <a:lnTo>
                    <a:pt x="1369" y="369"/>
                  </a:lnTo>
                  <a:lnTo>
                    <a:pt x="1364" y="358"/>
                  </a:lnTo>
                  <a:lnTo>
                    <a:pt x="1358" y="358"/>
                  </a:lnTo>
                  <a:lnTo>
                    <a:pt x="1353" y="358"/>
                  </a:lnTo>
                  <a:lnTo>
                    <a:pt x="1342" y="352"/>
                  </a:lnTo>
                  <a:lnTo>
                    <a:pt x="1331" y="352"/>
                  </a:lnTo>
                  <a:lnTo>
                    <a:pt x="1331" y="358"/>
                  </a:lnTo>
                  <a:lnTo>
                    <a:pt x="1331" y="352"/>
                  </a:lnTo>
                  <a:lnTo>
                    <a:pt x="1325" y="358"/>
                  </a:lnTo>
                  <a:lnTo>
                    <a:pt x="1320" y="358"/>
                  </a:lnTo>
                  <a:lnTo>
                    <a:pt x="1314" y="358"/>
                  </a:lnTo>
                  <a:lnTo>
                    <a:pt x="1314" y="363"/>
                  </a:lnTo>
                  <a:lnTo>
                    <a:pt x="1309" y="358"/>
                  </a:lnTo>
                  <a:lnTo>
                    <a:pt x="1309" y="363"/>
                  </a:lnTo>
                  <a:lnTo>
                    <a:pt x="1303" y="369"/>
                  </a:lnTo>
                  <a:lnTo>
                    <a:pt x="1303" y="374"/>
                  </a:lnTo>
                  <a:lnTo>
                    <a:pt x="1303" y="369"/>
                  </a:lnTo>
                  <a:lnTo>
                    <a:pt x="1303" y="374"/>
                  </a:lnTo>
                  <a:lnTo>
                    <a:pt x="1298" y="374"/>
                  </a:lnTo>
                  <a:lnTo>
                    <a:pt x="1298" y="369"/>
                  </a:lnTo>
                  <a:lnTo>
                    <a:pt x="1298" y="374"/>
                  </a:lnTo>
                  <a:lnTo>
                    <a:pt x="1298" y="369"/>
                  </a:lnTo>
                  <a:lnTo>
                    <a:pt x="1298" y="374"/>
                  </a:lnTo>
                  <a:lnTo>
                    <a:pt x="1292" y="374"/>
                  </a:lnTo>
                  <a:lnTo>
                    <a:pt x="1292" y="369"/>
                  </a:lnTo>
                  <a:lnTo>
                    <a:pt x="1292" y="374"/>
                  </a:lnTo>
                  <a:lnTo>
                    <a:pt x="1292" y="369"/>
                  </a:lnTo>
                  <a:lnTo>
                    <a:pt x="1298" y="369"/>
                  </a:lnTo>
                  <a:lnTo>
                    <a:pt x="1298" y="363"/>
                  </a:lnTo>
                  <a:lnTo>
                    <a:pt x="1298" y="369"/>
                  </a:lnTo>
                  <a:lnTo>
                    <a:pt x="1303" y="363"/>
                  </a:lnTo>
                  <a:lnTo>
                    <a:pt x="1303" y="358"/>
                  </a:lnTo>
                  <a:lnTo>
                    <a:pt x="1303" y="352"/>
                  </a:lnTo>
                  <a:lnTo>
                    <a:pt x="1298" y="358"/>
                  </a:lnTo>
                  <a:lnTo>
                    <a:pt x="1298" y="363"/>
                  </a:lnTo>
                  <a:lnTo>
                    <a:pt x="1292" y="358"/>
                  </a:lnTo>
                  <a:lnTo>
                    <a:pt x="1292" y="363"/>
                  </a:lnTo>
                  <a:lnTo>
                    <a:pt x="1292" y="369"/>
                  </a:lnTo>
                  <a:lnTo>
                    <a:pt x="1287" y="369"/>
                  </a:lnTo>
                  <a:lnTo>
                    <a:pt x="1292" y="369"/>
                  </a:lnTo>
                  <a:lnTo>
                    <a:pt x="1287" y="374"/>
                  </a:lnTo>
                  <a:lnTo>
                    <a:pt x="1287" y="380"/>
                  </a:lnTo>
                  <a:lnTo>
                    <a:pt x="1281" y="391"/>
                  </a:lnTo>
                  <a:lnTo>
                    <a:pt x="1276" y="391"/>
                  </a:lnTo>
                  <a:lnTo>
                    <a:pt x="1276" y="396"/>
                  </a:lnTo>
                  <a:lnTo>
                    <a:pt x="1276" y="391"/>
                  </a:lnTo>
                  <a:lnTo>
                    <a:pt x="1281" y="385"/>
                  </a:lnTo>
                  <a:lnTo>
                    <a:pt x="1281" y="380"/>
                  </a:lnTo>
                  <a:lnTo>
                    <a:pt x="1276" y="380"/>
                  </a:lnTo>
                  <a:lnTo>
                    <a:pt x="1281" y="369"/>
                  </a:lnTo>
                  <a:lnTo>
                    <a:pt x="1281" y="358"/>
                  </a:lnTo>
                  <a:lnTo>
                    <a:pt x="1281" y="363"/>
                  </a:lnTo>
                  <a:lnTo>
                    <a:pt x="1276" y="363"/>
                  </a:lnTo>
                  <a:lnTo>
                    <a:pt x="1287" y="358"/>
                  </a:lnTo>
                  <a:lnTo>
                    <a:pt x="1287" y="352"/>
                  </a:lnTo>
                  <a:lnTo>
                    <a:pt x="1281" y="352"/>
                  </a:lnTo>
                  <a:lnTo>
                    <a:pt x="1287" y="352"/>
                  </a:lnTo>
                  <a:lnTo>
                    <a:pt x="1292" y="352"/>
                  </a:lnTo>
                  <a:lnTo>
                    <a:pt x="1292" y="347"/>
                  </a:lnTo>
                  <a:lnTo>
                    <a:pt x="1287" y="341"/>
                  </a:lnTo>
                  <a:lnTo>
                    <a:pt x="1281" y="352"/>
                  </a:lnTo>
                  <a:lnTo>
                    <a:pt x="1276" y="352"/>
                  </a:lnTo>
                  <a:lnTo>
                    <a:pt x="1276" y="347"/>
                  </a:lnTo>
                  <a:lnTo>
                    <a:pt x="1270" y="347"/>
                  </a:lnTo>
                  <a:lnTo>
                    <a:pt x="1276" y="347"/>
                  </a:lnTo>
                  <a:lnTo>
                    <a:pt x="1281" y="347"/>
                  </a:lnTo>
                  <a:lnTo>
                    <a:pt x="1281" y="341"/>
                  </a:lnTo>
                  <a:lnTo>
                    <a:pt x="1287" y="336"/>
                  </a:lnTo>
                  <a:lnTo>
                    <a:pt x="1281" y="336"/>
                  </a:lnTo>
                  <a:lnTo>
                    <a:pt x="1287" y="336"/>
                  </a:lnTo>
                  <a:lnTo>
                    <a:pt x="1287" y="330"/>
                  </a:lnTo>
                  <a:lnTo>
                    <a:pt x="1281" y="330"/>
                  </a:lnTo>
                  <a:lnTo>
                    <a:pt x="1281" y="325"/>
                  </a:lnTo>
                  <a:lnTo>
                    <a:pt x="1281" y="330"/>
                  </a:lnTo>
                  <a:lnTo>
                    <a:pt x="1281" y="325"/>
                  </a:lnTo>
                  <a:lnTo>
                    <a:pt x="1281" y="330"/>
                  </a:lnTo>
                  <a:lnTo>
                    <a:pt x="1276" y="325"/>
                  </a:lnTo>
                  <a:lnTo>
                    <a:pt x="1281" y="325"/>
                  </a:lnTo>
                  <a:lnTo>
                    <a:pt x="1281" y="319"/>
                  </a:lnTo>
                  <a:lnTo>
                    <a:pt x="1276" y="325"/>
                  </a:lnTo>
                  <a:lnTo>
                    <a:pt x="1270" y="325"/>
                  </a:lnTo>
                  <a:lnTo>
                    <a:pt x="1276" y="325"/>
                  </a:lnTo>
                  <a:lnTo>
                    <a:pt x="1276" y="319"/>
                  </a:lnTo>
                  <a:lnTo>
                    <a:pt x="1270" y="325"/>
                  </a:lnTo>
                  <a:lnTo>
                    <a:pt x="1276" y="319"/>
                  </a:lnTo>
                  <a:lnTo>
                    <a:pt x="1270" y="314"/>
                  </a:lnTo>
                  <a:lnTo>
                    <a:pt x="1270" y="319"/>
                  </a:lnTo>
                  <a:lnTo>
                    <a:pt x="1265" y="319"/>
                  </a:lnTo>
                  <a:lnTo>
                    <a:pt x="1270" y="314"/>
                  </a:lnTo>
                  <a:lnTo>
                    <a:pt x="1270" y="308"/>
                  </a:lnTo>
                  <a:lnTo>
                    <a:pt x="1265" y="314"/>
                  </a:lnTo>
                  <a:lnTo>
                    <a:pt x="1265" y="319"/>
                  </a:lnTo>
                  <a:lnTo>
                    <a:pt x="1265" y="314"/>
                  </a:lnTo>
                  <a:lnTo>
                    <a:pt x="1265" y="319"/>
                  </a:lnTo>
                  <a:lnTo>
                    <a:pt x="1265" y="314"/>
                  </a:lnTo>
                  <a:lnTo>
                    <a:pt x="1259" y="314"/>
                  </a:lnTo>
                  <a:lnTo>
                    <a:pt x="1259" y="308"/>
                  </a:lnTo>
                  <a:lnTo>
                    <a:pt x="1259" y="314"/>
                  </a:lnTo>
                  <a:lnTo>
                    <a:pt x="1254" y="314"/>
                  </a:lnTo>
                  <a:lnTo>
                    <a:pt x="1254" y="319"/>
                  </a:lnTo>
                  <a:lnTo>
                    <a:pt x="1248" y="319"/>
                  </a:lnTo>
                  <a:lnTo>
                    <a:pt x="1248" y="314"/>
                  </a:lnTo>
                  <a:lnTo>
                    <a:pt x="1248" y="308"/>
                  </a:lnTo>
                  <a:lnTo>
                    <a:pt x="1248" y="303"/>
                  </a:lnTo>
                  <a:lnTo>
                    <a:pt x="1248" y="308"/>
                  </a:lnTo>
                  <a:lnTo>
                    <a:pt x="1243" y="308"/>
                  </a:lnTo>
                  <a:lnTo>
                    <a:pt x="1243" y="314"/>
                  </a:lnTo>
                  <a:lnTo>
                    <a:pt x="1243" y="308"/>
                  </a:lnTo>
                  <a:lnTo>
                    <a:pt x="1243" y="314"/>
                  </a:lnTo>
                  <a:lnTo>
                    <a:pt x="1248" y="303"/>
                  </a:lnTo>
                  <a:lnTo>
                    <a:pt x="1243" y="303"/>
                  </a:lnTo>
                  <a:lnTo>
                    <a:pt x="1248" y="303"/>
                  </a:lnTo>
                  <a:lnTo>
                    <a:pt x="1243" y="308"/>
                  </a:lnTo>
                  <a:lnTo>
                    <a:pt x="1243" y="303"/>
                  </a:lnTo>
                  <a:lnTo>
                    <a:pt x="1237" y="303"/>
                  </a:lnTo>
                  <a:lnTo>
                    <a:pt x="1232" y="303"/>
                  </a:lnTo>
                  <a:lnTo>
                    <a:pt x="1232" y="297"/>
                  </a:lnTo>
                  <a:lnTo>
                    <a:pt x="1232" y="303"/>
                  </a:lnTo>
                  <a:lnTo>
                    <a:pt x="1226" y="303"/>
                  </a:lnTo>
                  <a:lnTo>
                    <a:pt x="1226" y="297"/>
                  </a:lnTo>
                  <a:lnTo>
                    <a:pt x="1226" y="303"/>
                  </a:lnTo>
                  <a:lnTo>
                    <a:pt x="1226" y="297"/>
                  </a:lnTo>
                  <a:lnTo>
                    <a:pt x="1226" y="303"/>
                  </a:lnTo>
                  <a:lnTo>
                    <a:pt x="1226" y="297"/>
                  </a:lnTo>
                  <a:lnTo>
                    <a:pt x="1226" y="303"/>
                  </a:lnTo>
                  <a:lnTo>
                    <a:pt x="1221" y="297"/>
                  </a:lnTo>
                  <a:lnTo>
                    <a:pt x="1221" y="292"/>
                  </a:lnTo>
                  <a:lnTo>
                    <a:pt x="1221" y="297"/>
                  </a:lnTo>
                  <a:lnTo>
                    <a:pt x="1215" y="297"/>
                  </a:lnTo>
                  <a:lnTo>
                    <a:pt x="1215" y="292"/>
                  </a:lnTo>
                  <a:lnTo>
                    <a:pt x="1215" y="297"/>
                  </a:lnTo>
                  <a:lnTo>
                    <a:pt x="1215" y="292"/>
                  </a:lnTo>
                  <a:lnTo>
                    <a:pt x="1215" y="297"/>
                  </a:lnTo>
                  <a:lnTo>
                    <a:pt x="1210" y="297"/>
                  </a:lnTo>
                  <a:lnTo>
                    <a:pt x="1210" y="292"/>
                  </a:lnTo>
                  <a:lnTo>
                    <a:pt x="1215" y="286"/>
                  </a:lnTo>
                  <a:lnTo>
                    <a:pt x="1210" y="286"/>
                  </a:lnTo>
                  <a:lnTo>
                    <a:pt x="1210" y="292"/>
                  </a:lnTo>
                  <a:lnTo>
                    <a:pt x="1204" y="292"/>
                  </a:lnTo>
                  <a:lnTo>
                    <a:pt x="1204" y="286"/>
                  </a:lnTo>
                  <a:lnTo>
                    <a:pt x="1204" y="292"/>
                  </a:lnTo>
                  <a:lnTo>
                    <a:pt x="1199" y="292"/>
                  </a:lnTo>
                  <a:lnTo>
                    <a:pt x="1193" y="292"/>
                  </a:lnTo>
                  <a:lnTo>
                    <a:pt x="1193" y="286"/>
                  </a:lnTo>
                  <a:lnTo>
                    <a:pt x="1188" y="286"/>
                  </a:lnTo>
                  <a:lnTo>
                    <a:pt x="1188" y="292"/>
                  </a:lnTo>
                  <a:lnTo>
                    <a:pt x="1188" y="286"/>
                  </a:lnTo>
                  <a:lnTo>
                    <a:pt x="1193" y="286"/>
                  </a:lnTo>
                  <a:lnTo>
                    <a:pt x="1193" y="281"/>
                  </a:lnTo>
                  <a:lnTo>
                    <a:pt x="1188" y="281"/>
                  </a:lnTo>
                  <a:lnTo>
                    <a:pt x="1188" y="286"/>
                  </a:lnTo>
                  <a:lnTo>
                    <a:pt x="1188" y="281"/>
                  </a:lnTo>
                  <a:lnTo>
                    <a:pt x="1182" y="281"/>
                  </a:lnTo>
                  <a:lnTo>
                    <a:pt x="1188" y="275"/>
                  </a:lnTo>
                  <a:lnTo>
                    <a:pt x="1182" y="275"/>
                  </a:lnTo>
                  <a:lnTo>
                    <a:pt x="1182" y="281"/>
                  </a:lnTo>
                  <a:lnTo>
                    <a:pt x="1177" y="281"/>
                  </a:lnTo>
                  <a:lnTo>
                    <a:pt x="1182" y="281"/>
                  </a:lnTo>
                  <a:lnTo>
                    <a:pt x="1177" y="281"/>
                  </a:lnTo>
                  <a:lnTo>
                    <a:pt x="1177" y="275"/>
                  </a:lnTo>
                  <a:lnTo>
                    <a:pt x="1177" y="281"/>
                  </a:lnTo>
                  <a:lnTo>
                    <a:pt x="1171" y="281"/>
                  </a:lnTo>
                  <a:lnTo>
                    <a:pt x="1177" y="281"/>
                  </a:lnTo>
                  <a:lnTo>
                    <a:pt x="1171" y="275"/>
                  </a:lnTo>
                  <a:lnTo>
                    <a:pt x="1171" y="281"/>
                  </a:lnTo>
                  <a:lnTo>
                    <a:pt x="1171" y="275"/>
                  </a:lnTo>
                  <a:lnTo>
                    <a:pt x="1166" y="275"/>
                  </a:lnTo>
                  <a:lnTo>
                    <a:pt x="1171" y="275"/>
                  </a:lnTo>
                  <a:lnTo>
                    <a:pt x="1166" y="275"/>
                  </a:lnTo>
                  <a:lnTo>
                    <a:pt x="1166" y="270"/>
                  </a:lnTo>
                  <a:lnTo>
                    <a:pt x="1166" y="275"/>
                  </a:lnTo>
                  <a:lnTo>
                    <a:pt x="1166" y="270"/>
                  </a:lnTo>
                  <a:lnTo>
                    <a:pt x="1160" y="270"/>
                  </a:lnTo>
                  <a:lnTo>
                    <a:pt x="1160" y="275"/>
                  </a:lnTo>
                  <a:lnTo>
                    <a:pt x="1160" y="270"/>
                  </a:lnTo>
                  <a:lnTo>
                    <a:pt x="1155" y="270"/>
                  </a:lnTo>
                  <a:lnTo>
                    <a:pt x="1155" y="275"/>
                  </a:lnTo>
                  <a:lnTo>
                    <a:pt x="1160" y="275"/>
                  </a:lnTo>
                  <a:lnTo>
                    <a:pt x="1160" y="281"/>
                  </a:lnTo>
                  <a:lnTo>
                    <a:pt x="1160" y="275"/>
                  </a:lnTo>
                  <a:lnTo>
                    <a:pt x="1155" y="275"/>
                  </a:lnTo>
                  <a:lnTo>
                    <a:pt x="1155" y="270"/>
                  </a:lnTo>
                  <a:lnTo>
                    <a:pt x="1144" y="275"/>
                  </a:lnTo>
                  <a:lnTo>
                    <a:pt x="1144" y="270"/>
                  </a:lnTo>
                  <a:lnTo>
                    <a:pt x="1144" y="275"/>
                  </a:lnTo>
                  <a:lnTo>
                    <a:pt x="1138" y="275"/>
                  </a:lnTo>
                  <a:lnTo>
                    <a:pt x="1133" y="275"/>
                  </a:lnTo>
                  <a:lnTo>
                    <a:pt x="1133" y="281"/>
                  </a:lnTo>
                  <a:lnTo>
                    <a:pt x="1133" y="275"/>
                  </a:lnTo>
                  <a:lnTo>
                    <a:pt x="1127" y="281"/>
                  </a:lnTo>
                  <a:lnTo>
                    <a:pt x="1127" y="292"/>
                  </a:lnTo>
                  <a:lnTo>
                    <a:pt x="1122" y="292"/>
                  </a:lnTo>
                  <a:lnTo>
                    <a:pt x="1122" y="297"/>
                  </a:lnTo>
                  <a:lnTo>
                    <a:pt x="1116" y="303"/>
                  </a:lnTo>
                  <a:lnTo>
                    <a:pt x="1111" y="303"/>
                  </a:lnTo>
                  <a:lnTo>
                    <a:pt x="1111" y="308"/>
                  </a:lnTo>
                  <a:lnTo>
                    <a:pt x="1116" y="308"/>
                  </a:lnTo>
                  <a:lnTo>
                    <a:pt x="1111" y="314"/>
                  </a:lnTo>
                  <a:lnTo>
                    <a:pt x="1116" y="319"/>
                  </a:lnTo>
                  <a:lnTo>
                    <a:pt x="1111" y="319"/>
                  </a:lnTo>
                  <a:lnTo>
                    <a:pt x="1105" y="308"/>
                  </a:lnTo>
                  <a:lnTo>
                    <a:pt x="1105" y="314"/>
                  </a:lnTo>
                  <a:lnTo>
                    <a:pt x="1105" y="308"/>
                  </a:lnTo>
                  <a:lnTo>
                    <a:pt x="1100" y="314"/>
                  </a:lnTo>
                  <a:lnTo>
                    <a:pt x="1100" y="319"/>
                  </a:lnTo>
                  <a:lnTo>
                    <a:pt x="1094" y="319"/>
                  </a:lnTo>
                  <a:lnTo>
                    <a:pt x="1089" y="330"/>
                  </a:lnTo>
                  <a:lnTo>
                    <a:pt x="1083" y="330"/>
                  </a:lnTo>
                  <a:lnTo>
                    <a:pt x="1078" y="336"/>
                  </a:lnTo>
                  <a:lnTo>
                    <a:pt x="1078" y="341"/>
                  </a:lnTo>
                  <a:lnTo>
                    <a:pt x="1072" y="352"/>
                  </a:lnTo>
                  <a:lnTo>
                    <a:pt x="1072" y="358"/>
                  </a:lnTo>
                  <a:lnTo>
                    <a:pt x="1067" y="363"/>
                  </a:lnTo>
                  <a:lnTo>
                    <a:pt x="1061" y="363"/>
                  </a:lnTo>
                  <a:lnTo>
                    <a:pt x="1067" y="358"/>
                  </a:lnTo>
                  <a:lnTo>
                    <a:pt x="1067" y="347"/>
                  </a:lnTo>
                  <a:lnTo>
                    <a:pt x="1072" y="341"/>
                  </a:lnTo>
                  <a:lnTo>
                    <a:pt x="1072" y="330"/>
                  </a:lnTo>
                  <a:lnTo>
                    <a:pt x="1067" y="330"/>
                  </a:lnTo>
                  <a:lnTo>
                    <a:pt x="1072" y="325"/>
                  </a:lnTo>
                  <a:lnTo>
                    <a:pt x="1067" y="325"/>
                  </a:lnTo>
                  <a:lnTo>
                    <a:pt x="1067" y="330"/>
                  </a:lnTo>
                  <a:lnTo>
                    <a:pt x="1061" y="330"/>
                  </a:lnTo>
                  <a:lnTo>
                    <a:pt x="1061" y="336"/>
                  </a:lnTo>
                  <a:lnTo>
                    <a:pt x="1061" y="330"/>
                  </a:lnTo>
                  <a:lnTo>
                    <a:pt x="1056" y="330"/>
                  </a:lnTo>
                  <a:lnTo>
                    <a:pt x="1050" y="330"/>
                  </a:lnTo>
                  <a:lnTo>
                    <a:pt x="1056" y="341"/>
                  </a:lnTo>
                  <a:lnTo>
                    <a:pt x="1050" y="336"/>
                  </a:lnTo>
                  <a:lnTo>
                    <a:pt x="1050" y="341"/>
                  </a:lnTo>
                  <a:lnTo>
                    <a:pt x="1050" y="336"/>
                  </a:lnTo>
                  <a:lnTo>
                    <a:pt x="1050" y="330"/>
                  </a:lnTo>
                  <a:lnTo>
                    <a:pt x="1045" y="325"/>
                  </a:lnTo>
                  <a:lnTo>
                    <a:pt x="1039" y="330"/>
                  </a:lnTo>
                  <a:lnTo>
                    <a:pt x="1034" y="330"/>
                  </a:lnTo>
                  <a:lnTo>
                    <a:pt x="1034" y="336"/>
                  </a:lnTo>
                  <a:lnTo>
                    <a:pt x="1028" y="336"/>
                  </a:lnTo>
                  <a:lnTo>
                    <a:pt x="1028" y="341"/>
                  </a:lnTo>
                  <a:lnTo>
                    <a:pt x="1028" y="330"/>
                  </a:lnTo>
                  <a:lnTo>
                    <a:pt x="1023" y="336"/>
                  </a:lnTo>
                  <a:lnTo>
                    <a:pt x="1023" y="330"/>
                  </a:lnTo>
                  <a:lnTo>
                    <a:pt x="1012" y="325"/>
                  </a:lnTo>
                  <a:lnTo>
                    <a:pt x="1017" y="325"/>
                  </a:lnTo>
                  <a:lnTo>
                    <a:pt x="1017" y="319"/>
                  </a:lnTo>
                  <a:lnTo>
                    <a:pt x="1012" y="308"/>
                  </a:lnTo>
                  <a:lnTo>
                    <a:pt x="1012" y="297"/>
                  </a:lnTo>
                  <a:lnTo>
                    <a:pt x="1006" y="297"/>
                  </a:lnTo>
                  <a:lnTo>
                    <a:pt x="1006" y="292"/>
                  </a:lnTo>
                  <a:lnTo>
                    <a:pt x="1012" y="292"/>
                  </a:lnTo>
                  <a:lnTo>
                    <a:pt x="1012" y="286"/>
                  </a:lnTo>
                  <a:lnTo>
                    <a:pt x="1006" y="286"/>
                  </a:lnTo>
                  <a:lnTo>
                    <a:pt x="1001" y="286"/>
                  </a:lnTo>
                  <a:lnTo>
                    <a:pt x="1001" y="292"/>
                  </a:lnTo>
                  <a:lnTo>
                    <a:pt x="995" y="292"/>
                  </a:lnTo>
                  <a:lnTo>
                    <a:pt x="990" y="303"/>
                  </a:lnTo>
                  <a:lnTo>
                    <a:pt x="990" y="297"/>
                  </a:lnTo>
                  <a:lnTo>
                    <a:pt x="984" y="303"/>
                  </a:lnTo>
                  <a:lnTo>
                    <a:pt x="973" y="308"/>
                  </a:lnTo>
                  <a:lnTo>
                    <a:pt x="957" y="319"/>
                  </a:lnTo>
                  <a:lnTo>
                    <a:pt x="951" y="319"/>
                  </a:lnTo>
                  <a:lnTo>
                    <a:pt x="946" y="319"/>
                  </a:lnTo>
                  <a:lnTo>
                    <a:pt x="951" y="319"/>
                  </a:lnTo>
                  <a:lnTo>
                    <a:pt x="946" y="314"/>
                  </a:lnTo>
                  <a:lnTo>
                    <a:pt x="940" y="314"/>
                  </a:lnTo>
                  <a:lnTo>
                    <a:pt x="929" y="319"/>
                  </a:lnTo>
                  <a:lnTo>
                    <a:pt x="929" y="314"/>
                  </a:lnTo>
                  <a:lnTo>
                    <a:pt x="940" y="314"/>
                  </a:lnTo>
                  <a:lnTo>
                    <a:pt x="940" y="308"/>
                  </a:lnTo>
                  <a:lnTo>
                    <a:pt x="951" y="303"/>
                  </a:lnTo>
                  <a:lnTo>
                    <a:pt x="957" y="308"/>
                  </a:lnTo>
                  <a:lnTo>
                    <a:pt x="962" y="303"/>
                  </a:lnTo>
                  <a:lnTo>
                    <a:pt x="962" y="297"/>
                  </a:lnTo>
                  <a:lnTo>
                    <a:pt x="973" y="292"/>
                  </a:lnTo>
                  <a:lnTo>
                    <a:pt x="973" y="275"/>
                  </a:lnTo>
                  <a:lnTo>
                    <a:pt x="979" y="270"/>
                  </a:lnTo>
                  <a:lnTo>
                    <a:pt x="984" y="264"/>
                  </a:lnTo>
                  <a:lnTo>
                    <a:pt x="990" y="248"/>
                  </a:lnTo>
                  <a:lnTo>
                    <a:pt x="1001" y="242"/>
                  </a:lnTo>
                  <a:lnTo>
                    <a:pt x="1006" y="237"/>
                  </a:lnTo>
                  <a:lnTo>
                    <a:pt x="1012" y="237"/>
                  </a:lnTo>
                  <a:lnTo>
                    <a:pt x="1023" y="226"/>
                  </a:lnTo>
                  <a:lnTo>
                    <a:pt x="1028" y="209"/>
                  </a:lnTo>
                  <a:lnTo>
                    <a:pt x="1034" y="209"/>
                  </a:lnTo>
                  <a:lnTo>
                    <a:pt x="1034" y="204"/>
                  </a:lnTo>
                  <a:lnTo>
                    <a:pt x="1039" y="198"/>
                  </a:lnTo>
                  <a:lnTo>
                    <a:pt x="1045" y="193"/>
                  </a:lnTo>
                  <a:lnTo>
                    <a:pt x="1050" y="193"/>
                  </a:lnTo>
                  <a:lnTo>
                    <a:pt x="1050" y="187"/>
                  </a:lnTo>
                  <a:lnTo>
                    <a:pt x="1050" y="176"/>
                  </a:lnTo>
                  <a:lnTo>
                    <a:pt x="1045" y="165"/>
                  </a:lnTo>
                  <a:lnTo>
                    <a:pt x="1045" y="160"/>
                  </a:lnTo>
                  <a:lnTo>
                    <a:pt x="1023" y="160"/>
                  </a:lnTo>
                  <a:lnTo>
                    <a:pt x="1017" y="149"/>
                  </a:lnTo>
                  <a:lnTo>
                    <a:pt x="1017" y="143"/>
                  </a:lnTo>
                  <a:lnTo>
                    <a:pt x="1012" y="143"/>
                  </a:lnTo>
                  <a:lnTo>
                    <a:pt x="1012" y="149"/>
                  </a:lnTo>
                  <a:lnTo>
                    <a:pt x="1012" y="143"/>
                  </a:lnTo>
                  <a:lnTo>
                    <a:pt x="1017" y="143"/>
                  </a:lnTo>
                  <a:lnTo>
                    <a:pt x="1017" y="138"/>
                  </a:lnTo>
                  <a:lnTo>
                    <a:pt x="1012" y="132"/>
                  </a:lnTo>
                  <a:lnTo>
                    <a:pt x="1012" y="127"/>
                  </a:lnTo>
                  <a:lnTo>
                    <a:pt x="1012" y="116"/>
                  </a:lnTo>
                  <a:lnTo>
                    <a:pt x="1006" y="116"/>
                  </a:lnTo>
                  <a:lnTo>
                    <a:pt x="1001" y="99"/>
                  </a:lnTo>
                  <a:lnTo>
                    <a:pt x="1001" y="88"/>
                  </a:lnTo>
                  <a:lnTo>
                    <a:pt x="1001" y="61"/>
                  </a:lnTo>
                  <a:lnTo>
                    <a:pt x="995" y="66"/>
                  </a:lnTo>
                  <a:lnTo>
                    <a:pt x="995" y="72"/>
                  </a:lnTo>
                  <a:lnTo>
                    <a:pt x="995" y="55"/>
                  </a:lnTo>
                  <a:lnTo>
                    <a:pt x="990" y="44"/>
                  </a:lnTo>
                  <a:lnTo>
                    <a:pt x="979" y="39"/>
                  </a:lnTo>
                  <a:lnTo>
                    <a:pt x="979" y="44"/>
                  </a:lnTo>
                  <a:lnTo>
                    <a:pt x="984" y="61"/>
                  </a:lnTo>
                  <a:lnTo>
                    <a:pt x="979" y="44"/>
                  </a:lnTo>
                  <a:lnTo>
                    <a:pt x="973" y="55"/>
                  </a:lnTo>
                  <a:lnTo>
                    <a:pt x="968" y="61"/>
                  </a:lnTo>
                  <a:lnTo>
                    <a:pt x="968" y="66"/>
                  </a:lnTo>
                  <a:lnTo>
                    <a:pt x="962" y="66"/>
                  </a:lnTo>
                  <a:lnTo>
                    <a:pt x="962" y="72"/>
                  </a:lnTo>
                  <a:lnTo>
                    <a:pt x="957" y="72"/>
                  </a:lnTo>
                  <a:lnTo>
                    <a:pt x="957" y="77"/>
                  </a:lnTo>
                  <a:lnTo>
                    <a:pt x="951" y="94"/>
                  </a:lnTo>
                  <a:lnTo>
                    <a:pt x="946" y="94"/>
                  </a:lnTo>
                  <a:lnTo>
                    <a:pt x="946" y="99"/>
                  </a:lnTo>
                  <a:lnTo>
                    <a:pt x="940" y="105"/>
                  </a:lnTo>
                  <a:lnTo>
                    <a:pt x="940" y="110"/>
                  </a:lnTo>
                  <a:lnTo>
                    <a:pt x="935" y="121"/>
                  </a:lnTo>
                  <a:lnTo>
                    <a:pt x="929" y="132"/>
                  </a:lnTo>
                  <a:lnTo>
                    <a:pt x="924" y="138"/>
                  </a:lnTo>
                  <a:lnTo>
                    <a:pt x="918" y="143"/>
                  </a:lnTo>
                  <a:lnTo>
                    <a:pt x="913" y="143"/>
                  </a:lnTo>
                  <a:lnTo>
                    <a:pt x="913" y="138"/>
                  </a:lnTo>
                  <a:lnTo>
                    <a:pt x="902" y="143"/>
                  </a:lnTo>
                  <a:lnTo>
                    <a:pt x="907" y="138"/>
                  </a:lnTo>
                  <a:lnTo>
                    <a:pt x="902" y="132"/>
                  </a:lnTo>
                  <a:lnTo>
                    <a:pt x="896" y="138"/>
                  </a:lnTo>
                  <a:lnTo>
                    <a:pt x="891" y="138"/>
                  </a:lnTo>
                  <a:lnTo>
                    <a:pt x="885" y="138"/>
                  </a:lnTo>
                  <a:lnTo>
                    <a:pt x="885" y="132"/>
                  </a:lnTo>
                  <a:lnTo>
                    <a:pt x="874" y="138"/>
                  </a:lnTo>
                  <a:lnTo>
                    <a:pt x="869" y="143"/>
                  </a:lnTo>
                  <a:lnTo>
                    <a:pt x="863" y="143"/>
                  </a:lnTo>
                  <a:lnTo>
                    <a:pt x="858" y="143"/>
                  </a:lnTo>
                  <a:lnTo>
                    <a:pt x="858" y="138"/>
                  </a:lnTo>
                  <a:lnTo>
                    <a:pt x="852" y="138"/>
                  </a:lnTo>
                  <a:lnTo>
                    <a:pt x="847" y="138"/>
                  </a:lnTo>
                  <a:lnTo>
                    <a:pt x="841" y="138"/>
                  </a:lnTo>
                  <a:lnTo>
                    <a:pt x="841" y="132"/>
                  </a:lnTo>
                  <a:lnTo>
                    <a:pt x="841" y="127"/>
                  </a:lnTo>
                  <a:lnTo>
                    <a:pt x="836" y="132"/>
                  </a:lnTo>
                  <a:lnTo>
                    <a:pt x="830" y="121"/>
                  </a:lnTo>
                  <a:lnTo>
                    <a:pt x="825" y="127"/>
                  </a:lnTo>
                  <a:lnTo>
                    <a:pt x="825" y="121"/>
                  </a:lnTo>
                  <a:lnTo>
                    <a:pt x="819" y="127"/>
                  </a:lnTo>
                  <a:lnTo>
                    <a:pt x="814" y="127"/>
                  </a:lnTo>
                  <a:lnTo>
                    <a:pt x="814" y="132"/>
                  </a:lnTo>
                  <a:lnTo>
                    <a:pt x="797" y="132"/>
                  </a:lnTo>
                  <a:lnTo>
                    <a:pt x="786" y="127"/>
                  </a:lnTo>
                  <a:lnTo>
                    <a:pt x="781" y="132"/>
                  </a:lnTo>
                  <a:lnTo>
                    <a:pt x="781" y="138"/>
                  </a:lnTo>
                  <a:lnTo>
                    <a:pt x="786" y="143"/>
                  </a:lnTo>
                  <a:lnTo>
                    <a:pt x="792" y="149"/>
                  </a:lnTo>
                  <a:lnTo>
                    <a:pt x="792" y="154"/>
                  </a:lnTo>
                  <a:lnTo>
                    <a:pt x="786" y="160"/>
                  </a:lnTo>
                  <a:lnTo>
                    <a:pt x="770" y="154"/>
                  </a:lnTo>
                  <a:lnTo>
                    <a:pt x="764" y="154"/>
                  </a:lnTo>
                  <a:lnTo>
                    <a:pt x="759" y="154"/>
                  </a:lnTo>
                  <a:lnTo>
                    <a:pt x="753" y="154"/>
                  </a:lnTo>
                  <a:lnTo>
                    <a:pt x="748" y="154"/>
                  </a:lnTo>
                  <a:lnTo>
                    <a:pt x="742" y="154"/>
                  </a:lnTo>
                  <a:lnTo>
                    <a:pt x="737" y="149"/>
                  </a:lnTo>
                  <a:lnTo>
                    <a:pt x="731" y="154"/>
                  </a:lnTo>
                  <a:lnTo>
                    <a:pt x="726" y="149"/>
                  </a:lnTo>
                  <a:lnTo>
                    <a:pt x="720" y="154"/>
                  </a:lnTo>
                  <a:lnTo>
                    <a:pt x="720" y="160"/>
                  </a:lnTo>
                  <a:lnTo>
                    <a:pt x="715" y="165"/>
                  </a:lnTo>
                  <a:lnTo>
                    <a:pt x="709" y="165"/>
                  </a:lnTo>
                  <a:lnTo>
                    <a:pt x="704" y="165"/>
                  </a:lnTo>
                  <a:lnTo>
                    <a:pt x="698" y="165"/>
                  </a:lnTo>
                  <a:lnTo>
                    <a:pt x="698" y="171"/>
                  </a:lnTo>
                  <a:lnTo>
                    <a:pt x="693" y="171"/>
                  </a:lnTo>
                  <a:lnTo>
                    <a:pt x="682" y="171"/>
                  </a:lnTo>
                  <a:lnTo>
                    <a:pt x="682" y="176"/>
                  </a:lnTo>
                  <a:lnTo>
                    <a:pt x="676" y="176"/>
                  </a:lnTo>
                  <a:lnTo>
                    <a:pt x="676" y="182"/>
                  </a:lnTo>
                  <a:lnTo>
                    <a:pt x="665" y="182"/>
                  </a:lnTo>
                  <a:lnTo>
                    <a:pt x="665" y="187"/>
                  </a:lnTo>
                  <a:lnTo>
                    <a:pt x="660" y="187"/>
                  </a:lnTo>
                  <a:lnTo>
                    <a:pt x="660" y="182"/>
                  </a:lnTo>
                  <a:lnTo>
                    <a:pt x="654" y="182"/>
                  </a:lnTo>
                  <a:lnTo>
                    <a:pt x="643" y="176"/>
                  </a:lnTo>
                  <a:lnTo>
                    <a:pt x="638" y="176"/>
                  </a:lnTo>
                  <a:lnTo>
                    <a:pt x="638" y="171"/>
                  </a:lnTo>
                  <a:lnTo>
                    <a:pt x="632" y="165"/>
                  </a:lnTo>
                  <a:lnTo>
                    <a:pt x="627" y="160"/>
                  </a:lnTo>
                  <a:lnTo>
                    <a:pt x="621" y="154"/>
                  </a:lnTo>
                  <a:lnTo>
                    <a:pt x="621" y="160"/>
                  </a:lnTo>
                  <a:lnTo>
                    <a:pt x="621" y="138"/>
                  </a:lnTo>
                  <a:lnTo>
                    <a:pt x="616" y="132"/>
                  </a:lnTo>
                  <a:lnTo>
                    <a:pt x="610" y="121"/>
                  </a:lnTo>
                  <a:lnTo>
                    <a:pt x="610" y="105"/>
                  </a:lnTo>
                  <a:lnTo>
                    <a:pt x="616" y="88"/>
                  </a:lnTo>
                  <a:lnTo>
                    <a:pt x="616" y="77"/>
                  </a:lnTo>
                  <a:lnTo>
                    <a:pt x="627" y="72"/>
                  </a:lnTo>
                  <a:lnTo>
                    <a:pt x="627" y="66"/>
                  </a:lnTo>
                  <a:lnTo>
                    <a:pt x="627" y="61"/>
                  </a:lnTo>
                  <a:lnTo>
                    <a:pt x="632" y="61"/>
                  </a:lnTo>
                  <a:lnTo>
                    <a:pt x="627" y="61"/>
                  </a:lnTo>
                  <a:lnTo>
                    <a:pt x="627" y="55"/>
                  </a:lnTo>
                  <a:lnTo>
                    <a:pt x="627" y="50"/>
                  </a:lnTo>
                  <a:lnTo>
                    <a:pt x="621" y="50"/>
                  </a:lnTo>
                  <a:lnTo>
                    <a:pt x="621" y="44"/>
                  </a:lnTo>
                  <a:lnTo>
                    <a:pt x="627" y="39"/>
                  </a:lnTo>
                  <a:lnTo>
                    <a:pt x="621" y="39"/>
                  </a:lnTo>
                  <a:lnTo>
                    <a:pt x="616" y="39"/>
                  </a:lnTo>
                  <a:lnTo>
                    <a:pt x="610" y="33"/>
                  </a:lnTo>
                  <a:lnTo>
                    <a:pt x="605" y="33"/>
                  </a:lnTo>
                  <a:lnTo>
                    <a:pt x="605" y="28"/>
                  </a:lnTo>
                  <a:lnTo>
                    <a:pt x="610" y="28"/>
                  </a:lnTo>
                  <a:lnTo>
                    <a:pt x="610" y="6"/>
                  </a:lnTo>
                  <a:lnTo>
                    <a:pt x="605" y="6"/>
                  </a:lnTo>
                  <a:lnTo>
                    <a:pt x="605" y="0"/>
                  </a:lnTo>
                  <a:lnTo>
                    <a:pt x="599" y="0"/>
                  </a:lnTo>
                  <a:lnTo>
                    <a:pt x="599" y="6"/>
                  </a:lnTo>
                  <a:lnTo>
                    <a:pt x="594" y="0"/>
                  </a:lnTo>
                  <a:lnTo>
                    <a:pt x="594" y="6"/>
                  </a:lnTo>
                  <a:lnTo>
                    <a:pt x="583" y="0"/>
                  </a:lnTo>
                  <a:lnTo>
                    <a:pt x="577" y="6"/>
                  </a:lnTo>
                  <a:lnTo>
                    <a:pt x="583" y="6"/>
                  </a:lnTo>
                  <a:lnTo>
                    <a:pt x="583" y="11"/>
                  </a:lnTo>
                  <a:lnTo>
                    <a:pt x="583" y="22"/>
                  </a:lnTo>
                  <a:lnTo>
                    <a:pt x="577" y="22"/>
                  </a:lnTo>
                  <a:lnTo>
                    <a:pt x="572" y="22"/>
                  </a:lnTo>
                  <a:lnTo>
                    <a:pt x="566" y="33"/>
                  </a:lnTo>
                  <a:lnTo>
                    <a:pt x="561" y="33"/>
                  </a:lnTo>
                  <a:lnTo>
                    <a:pt x="555" y="33"/>
                  </a:lnTo>
                  <a:lnTo>
                    <a:pt x="555" y="39"/>
                  </a:lnTo>
                  <a:lnTo>
                    <a:pt x="550" y="39"/>
                  </a:lnTo>
                  <a:lnTo>
                    <a:pt x="544" y="39"/>
                  </a:lnTo>
                  <a:lnTo>
                    <a:pt x="544" y="44"/>
                  </a:lnTo>
                  <a:lnTo>
                    <a:pt x="533" y="44"/>
                  </a:lnTo>
                  <a:lnTo>
                    <a:pt x="528" y="50"/>
                  </a:lnTo>
                  <a:lnTo>
                    <a:pt x="522" y="50"/>
                  </a:lnTo>
                  <a:lnTo>
                    <a:pt x="517" y="55"/>
                  </a:lnTo>
                  <a:lnTo>
                    <a:pt x="506" y="50"/>
                  </a:lnTo>
                  <a:lnTo>
                    <a:pt x="500" y="55"/>
                  </a:lnTo>
                  <a:lnTo>
                    <a:pt x="495" y="55"/>
                  </a:lnTo>
                  <a:lnTo>
                    <a:pt x="489" y="55"/>
                  </a:lnTo>
                  <a:lnTo>
                    <a:pt x="489" y="61"/>
                  </a:lnTo>
                  <a:lnTo>
                    <a:pt x="489" y="66"/>
                  </a:lnTo>
                  <a:lnTo>
                    <a:pt x="489" y="72"/>
                  </a:lnTo>
                  <a:lnTo>
                    <a:pt x="489" y="77"/>
                  </a:lnTo>
                  <a:lnTo>
                    <a:pt x="484" y="77"/>
                  </a:lnTo>
                  <a:lnTo>
                    <a:pt x="478" y="77"/>
                  </a:lnTo>
                  <a:lnTo>
                    <a:pt x="467" y="61"/>
                  </a:lnTo>
                  <a:lnTo>
                    <a:pt x="462" y="61"/>
                  </a:lnTo>
                  <a:lnTo>
                    <a:pt x="462" y="66"/>
                  </a:lnTo>
                  <a:lnTo>
                    <a:pt x="456" y="66"/>
                  </a:lnTo>
                  <a:lnTo>
                    <a:pt x="451" y="61"/>
                  </a:lnTo>
                  <a:lnTo>
                    <a:pt x="445" y="61"/>
                  </a:lnTo>
                  <a:lnTo>
                    <a:pt x="434" y="66"/>
                  </a:lnTo>
                  <a:lnTo>
                    <a:pt x="429" y="55"/>
                  </a:lnTo>
                  <a:lnTo>
                    <a:pt x="423" y="50"/>
                  </a:lnTo>
                  <a:lnTo>
                    <a:pt x="412" y="55"/>
                  </a:lnTo>
                  <a:lnTo>
                    <a:pt x="407" y="44"/>
                  </a:lnTo>
                  <a:lnTo>
                    <a:pt x="401" y="44"/>
                  </a:lnTo>
                  <a:lnTo>
                    <a:pt x="401" y="50"/>
                  </a:lnTo>
                  <a:lnTo>
                    <a:pt x="407" y="50"/>
                  </a:lnTo>
                  <a:lnTo>
                    <a:pt x="407" y="55"/>
                  </a:lnTo>
                  <a:lnTo>
                    <a:pt x="418" y="66"/>
                  </a:lnTo>
                  <a:lnTo>
                    <a:pt x="423" y="72"/>
                  </a:lnTo>
                  <a:lnTo>
                    <a:pt x="429" y="77"/>
                  </a:lnTo>
                  <a:lnTo>
                    <a:pt x="429" y="83"/>
                  </a:lnTo>
                  <a:lnTo>
                    <a:pt x="423" y="83"/>
                  </a:lnTo>
                  <a:lnTo>
                    <a:pt x="429" y="99"/>
                  </a:lnTo>
                  <a:lnTo>
                    <a:pt x="434" y="116"/>
                  </a:lnTo>
                  <a:lnTo>
                    <a:pt x="434" y="127"/>
                  </a:lnTo>
                  <a:lnTo>
                    <a:pt x="445" y="132"/>
                  </a:lnTo>
                  <a:lnTo>
                    <a:pt x="451" y="132"/>
                  </a:lnTo>
                  <a:lnTo>
                    <a:pt x="462" y="132"/>
                  </a:lnTo>
                  <a:lnTo>
                    <a:pt x="467" y="132"/>
                  </a:lnTo>
                  <a:lnTo>
                    <a:pt x="462" y="132"/>
                  </a:lnTo>
                  <a:lnTo>
                    <a:pt x="467" y="138"/>
                  </a:lnTo>
                  <a:lnTo>
                    <a:pt x="462" y="143"/>
                  </a:lnTo>
                  <a:lnTo>
                    <a:pt x="451" y="143"/>
                  </a:lnTo>
                  <a:lnTo>
                    <a:pt x="445" y="154"/>
                  </a:lnTo>
                  <a:lnTo>
                    <a:pt x="440" y="149"/>
                  </a:lnTo>
                  <a:lnTo>
                    <a:pt x="434" y="154"/>
                  </a:lnTo>
                  <a:lnTo>
                    <a:pt x="434" y="165"/>
                  </a:lnTo>
                  <a:lnTo>
                    <a:pt x="429" y="171"/>
                  </a:lnTo>
                  <a:lnTo>
                    <a:pt x="418" y="182"/>
                  </a:lnTo>
                  <a:lnTo>
                    <a:pt x="418" y="176"/>
                  </a:lnTo>
                  <a:lnTo>
                    <a:pt x="418" y="171"/>
                  </a:lnTo>
                  <a:lnTo>
                    <a:pt x="412" y="176"/>
                  </a:lnTo>
                  <a:lnTo>
                    <a:pt x="412" y="182"/>
                  </a:lnTo>
                  <a:lnTo>
                    <a:pt x="401" y="187"/>
                  </a:lnTo>
                  <a:lnTo>
                    <a:pt x="401" y="182"/>
                  </a:lnTo>
                  <a:lnTo>
                    <a:pt x="390" y="187"/>
                  </a:lnTo>
                  <a:lnTo>
                    <a:pt x="385" y="187"/>
                  </a:lnTo>
                  <a:lnTo>
                    <a:pt x="385" y="198"/>
                  </a:lnTo>
                  <a:lnTo>
                    <a:pt x="379" y="198"/>
                  </a:lnTo>
                  <a:lnTo>
                    <a:pt x="374" y="209"/>
                  </a:lnTo>
                  <a:lnTo>
                    <a:pt x="368" y="215"/>
                  </a:lnTo>
                  <a:lnTo>
                    <a:pt x="368" y="209"/>
                  </a:lnTo>
                  <a:lnTo>
                    <a:pt x="368" y="204"/>
                  </a:lnTo>
                  <a:lnTo>
                    <a:pt x="368" y="198"/>
                  </a:lnTo>
                  <a:lnTo>
                    <a:pt x="363" y="198"/>
                  </a:lnTo>
                  <a:lnTo>
                    <a:pt x="357" y="198"/>
                  </a:lnTo>
                  <a:lnTo>
                    <a:pt x="352" y="204"/>
                  </a:lnTo>
                  <a:lnTo>
                    <a:pt x="346" y="204"/>
                  </a:lnTo>
                  <a:lnTo>
                    <a:pt x="341" y="209"/>
                  </a:lnTo>
                  <a:lnTo>
                    <a:pt x="335" y="209"/>
                  </a:lnTo>
                  <a:lnTo>
                    <a:pt x="313" y="187"/>
                  </a:lnTo>
                  <a:lnTo>
                    <a:pt x="302" y="187"/>
                  </a:lnTo>
                  <a:lnTo>
                    <a:pt x="302" y="165"/>
                  </a:lnTo>
                  <a:lnTo>
                    <a:pt x="291" y="143"/>
                  </a:lnTo>
                  <a:lnTo>
                    <a:pt x="286" y="143"/>
                  </a:lnTo>
                  <a:lnTo>
                    <a:pt x="280" y="143"/>
                  </a:lnTo>
                  <a:lnTo>
                    <a:pt x="275" y="149"/>
                  </a:lnTo>
                  <a:lnTo>
                    <a:pt x="269" y="160"/>
                  </a:lnTo>
                  <a:lnTo>
                    <a:pt x="264" y="160"/>
                  </a:lnTo>
                  <a:lnTo>
                    <a:pt x="258" y="154"/>
                  </a:lnTo>
                  <a:lnTo>
                    <a:pt x="253" y="154"/>
                  </a:lnTo>
                  <a:lnTo>
                    <a:pt x="253" y="149"/>
                  </a:lnTo>
                  <a:lnTo>
                    <a:pt x="247" y="160"/>
                  </a:lnTo>
                  <a:lnTo>
                    <a:pt x="253" y="160"/>
                  </a:lnTo>
                  <a:lnTo>
                    <a:pt x="253" y="165"/>
                  </a:lnTo>
                  <a:lnTo>
                    <a:pt x="203" y="160"/>
                  </a:lnTo>
                  <a:lnTo>
                    <a:pt x="192" y="160"/>
                  </a:lnTo>
                  <a:lnTo>
                    <a:pt x="187" y="160"/>
                  </a:lnTo>
                  <a:lnTo>
                    <a:pt x="181" y="165"/>
                  </a:lnTo>
                  <a:lnTo>
                    <a:pt x="181" y="193"/>
                  </a:lnTo>
                  <a:lnTo>
                    <a:pt x="187" y="193"/>
                  </a:lnTo>
                  <a:lnTo>
                    <a:pt x="198" y="193"/>
                  </a:lnTo>
                  <a:lnTo>
                    <a:pt x="198" y="198"/>
                  </a:lnTo>
                  <a:lnTo>
                    <a:pt x="203" y="193"/>
                  </a:lnTo>
                  <a:lnTo>
                    <a:pt x="209" y="198"/>
                  </a:lnTo>
                  <a:lnTo>
                    <a:pt x="214" y="204"/>
                  </a:lnTo>
                  <a:lnTo>
                    <a:pt x="209" y="204"/>
                  </a:lnTo>
                  <a:lnTo>
                    <a:pt x="214" y="209"/>
                  </a:lnTo>
                  <a:lnTo>
                    <a:pt x="209" y="209"/>
                  </a:lnTo>
                  <a:lnTo>
                    <a:pt x="214" y="215"/>
                  </a:lnTo>
                  <a:lnTo>
                    <a:pt x="203" y="215"/>
                  </a:lnTo>
                  <a:lnTo>
                    <a:pt x="203" y="209"/>
                  </a:lnTo>
                  <a:lnTo>
                    <a:pt x="203" y="215"/>
                  </a:lnTo>
                  <a:lnTo>
                    <a:pt x="198" y="209"/>
                  </a:lnTo>
                  <a:lnTo>
                    <a:pt x="192" y="209"/>
                  </a:lnTo>
                  <a:lnTo>
                    <a:pt x="192" y="215"/>
                  </a:lnTo>
                  <a:lnTo>
                    <a:pt x="187" y="209"/>
                  </a:lnTo>
                  <a:lnTo>
                    <a:pt x="181" y="215"/>
                  </a:lnTo>
                  <a:lnTo>
                    <a:pt x="176" y="215"/>
                  </a:lnTo>
                  <a:lnTo>
                    <a:pt x="170" y="215"/>
                  </a:lnTo>
                  <a:lnTo>
                    <a:pt x="170" y="248"/>
                  </a:lnTo>
                  <a:lnTo>
                    <a:pt x="176" y="259"/>
                  </a:lnTo>
                  <a:lnTo>
                    <a:pt x="181" y="259"/>
                  </a:lnTo>
                  <a:lnTo>
                    <a:pt x="187" y="264"/>
                  </a:lnTo>
                  <a:lnTo>
                    <a:pt x="192" y="264"/>
                  </a:lnTo>
                  <a:lnTo>
                    <a:pt x="192" y="270"/>
                  </a:lnTo>
                  <a:lnTo>
                    <a:pt x="192" y="275"/>
                  </a:lnTo>
                  <a:lnTo>
                    <a:pt x="192" y="281"/>
                  </a:lnTo>
                  <a:lnTo>
                    <a:pt x="198" y="286"/>
                  </a:lnTo>
                  <a:lnTo>
                    <a:pt x="198" y="292"/>
                  </a:lnTo>
                  <a:lnTo>
                    <a:pt x="203" y="297"/>
                  </a:lnTo>
                  <a:lnTo>
                    <a:pt x="203" y="308"/>
                  </a:lnTo>
                  <a:lnTo>
                    <a:pt x="198" y="314"/>
                  </a:lnTo>
                  <a:lnTo>
                    <a:pt x="176" y="435"/>
                  </a:lnTo>
                  <a:lnTo>
                    <a:pt x="176" y="440"/>
                  </a:lnTo>
                  <a:lnTo>
                    <a:pt x="170" y="440"/>
                  </a:lnTo>
                  <a:lnTo>
                    <a:pt x="165" y="440"/>
                  </a:lnTo>
                  <a:lnTo>
                    <a:pt x="159" y="440"/>
                  </a:lnTo>
                  <a:lnTo>
                    <a:pt x="159" y="435"/>
                  </a:lnTo>
                  <a:lnTo>
                    <a:pt x="154" y="435"/>
                  </a:lnTo>
                  <a:lnTo>
                    <a:pt x="148" y="435"/>
                  </a:lnTo>
                  <a:lnTo>
                    <a:pt x="143" y="435"/>
                  </a:lnTo>
                  <a:lnTo>
                    <a:pt x="137" y="435"/>
                  </a:lnTo>
                  <a:lnTo>
                    <a:pt x="137" y="440"/>
                  </a:lnTo>
                  <a:lnTo>
                    <a:pt x="132" y="446"/>
                  </a:lnTo>
                  <a:lnTo>
                    <a:pt x="132" y="440"/>
                  </a:lnTo>
                  <a:lnTo>
                    <a:pt x="132" y="446"/>
                  </a:lnTo>
                  <a:lnTo>
                    <a:pt x="126" y="446"/>
                  </a:lnTo>
                  <a:lnTo>
                    <a:pt x="121" y="446"/>
                  </a:lnTo>
                  <a:lnTo>
                    <a:pt x="110" y="446"/>
                  </a:lnTo>
                  <a:lnTo>
                    <a:pt x="110" y="451"/>
                  </a:lnTo>
                  <a:lnTo>
                    <a:pt x="104" y="451"/>
                  </a:lnTo>
                  <a:lnTo>
                    <a:pt x="104" y="446"/>
                  </a:lnTo>
                  <a:lnTo>
                    <a:pt x="104" y="451"/>
                  </a:lnTo>
                  <a:lnTo>
                    <a:pt x="99" y="446"/>
                  </a:lnTo>
                  <a:lnTo>
                    <a:pt x="99" y="451"/>
                  </a:lnTo>
                  <a:lnTo>
                    <a:pt x="93" y="451"/>
                  </a:lnTo>
                  <a:lnTo>
                    <a:pt x="88" y="457"/>
                  </a:lnTo>
                  <a:lnTo>
                    <a:pt x="82" y="457"/>
                  </a:lnTo>
                  <a:lnTo>
                    <a:pt x="77" y="462"/>
                  </a:lnTo>
                  <a:lnTo>
                    <a:pt x="71" y="462"/>
                  </a:lnTo>
                  <a:lnTo>
                    <a:pt x="71" y="468"/>
                  </a:lnTo>
                  <a:lnTo>
                    <a:pt x="66" y="468"/>
                  </a:lnTo>
                  <a:lnTo>
                    <a:pt x="66" y="473"/>
                  </a:lnTo>
                  <a:lnTo>
                    <a:pt x="60" y="473"/>
                  </a:lnTo>
                  <a:lnTo>
                    <a:pt x="55" y="479"/>
                  </a:lnTo>
                  <a:lnTo>
                    <a:pt x="55" y="473"/>
                  </a:lnTo>
                  <a:lnTo>
                    <a:pt x="55" y="479"/>
                  </a:lnTo>
                  <a:lnTo>
                    <a:pt x="49" y="479"/>
                  </a:lnTo>
                  <a:lnTo>
                    <a:pt x="49" y="484"/>
                  </a:lnTo>
                  <a:lnTo>
                    <a:pt x="44" y="495"/>
                  </a:lnTo>
                  <a:lnTo>
                    <a:pt x="49" y="501"/>
                  </a:lnTo>
                  <a:lnTo>
                    <a:pt x="44" y="512"/>
                  </a:lnTo>
                  <a:lnTo>
                    <a:pt x="38" y="512"/>
                  </a:lnTo>
                  <a:lnTo>
                    <a:pt x="38" y="517"/>
                  </a:lnTo>
                  <a:lnTo>
                    <a:pt x="38" y="523"/>
                  </a:lnTo>
                  <a:lnTo>
                    <a:pt x="38" y="539"/>
                  </a:lnTo>
                  <a:lnTo>
                    <a:pt x="33" y="545"/>
                  </a:lnTo>
                  <a:lnTo>
                    <a:pt x="16" y="556"/>
                  </a:lnTo>
                  <a:lnTo>
                    <a:pt x="11" y="561"/>
                  </a:lnTo>
                  <a:lnTo>
                    <a:pt x="11" y="567"/>
                  </a:lnTo>
                  <a:lnTo>
                    <a:pt x="11" y="572"/>
                  </a:lnTo>
                  <a:lnTo>
                    <a:pt x="11" y="578"/>
                  </a:lnTo>
                  <a:lnTo>
                    <a:pt x="5" y="583"/>
                  </a:lnTo>
                  <a:lnTo>
                    <a:pt x="0" y="583"/>
                  </a:lnTo>
                  <a:lnTo>
                    <a:pt x="0" y="589"/>
                  </a:lnTo>
                  <a:lnTo>
                    <a:pt x="5" y="594"/>
                  </a:lnTo>
                  <a:lnTo>
                    <a:pt x="5" y="600"/>
                  </a:lnTo>
                  <a:lnTo>
                    <a:pt x="11" y="600"/>
                  </a:lnTo>
                  <a:lnTo>
                    <a:pt x="11" y="605"/>
                  </a:lnTo>
                  <a:lnTo>
                    <a:pt x="11" y="611"/>
                  </a:lnTo>
                  <a:lnTo>
                    <a:pt x="16" y="616"/>
                  </a:lnTo>
                  <a:lnTo>
                    <a:pt x="22" y="627"/>
                  </a:lnTo>
                  <a:lnTo>
                    <a:pt x="27" y="633"/>
                  </a:lnTo>
                  <a:lnTo>
                    <a:pt x="27" y="638"/>
                  </a:lnTo>
                  <a:lnTo>
                    <a:pt x="33" y="638"/>
                  </a:lnTo>
                  <a:lnTo>
                    <a:pt x="33" y="644"/>
                  </a:lnTo>
                  <a:lnTo>
                    <a:pt x="38" y="644"/>
                  </a:lnTo>
                  <a:lnTo>
                    <a:pt x="38" y="655"/>
                  </a:lnTo>
                  <a:lnTo>
                    <a:pt x="44" y="655"/>
                  </a:lnTo>
                  <a:lnTo>
                    <a:pt x="49" y="660"/>
                  </a:lnTo>
                  <a:lnTo>
                    <a:pt x="44" y="666"/>
                  </a:lnTo>
                  <a:lnTo>
                    <a:pt x="38" y="671"/>
                  </a:lnTo>
                  <a:lnTo>
                    <a:pt x="33" y="677"/>
                  </a:lnTo>
                  <a:lnTo>
                    <a:pt x="55" y="677"/>
                  </a:lnTo>
                  <a:lnTo>
                    <a:pt x="60" y="677"/>
                  </a:lnTo>
                  <a:lnTo>
                    <a:pt x="77" y="682"/>
                  </a:lnTo>
                  <a:lnTo>
                    <a:pt x="77" y="688"/>
                  </a:lnTo>
                  <a:lnTo>
                    <a:pt x="77" y="693"/>
                  </a:lnTo>
                  <a:lnTo>
                    <a:pt x="82" y="699"/>
                  </a:lnTo>
                  <a:lnTo>
                    <a:pt x="77" y="704"/>
                  </a:lnTo>
                  <a:lnTo>
                    <a:pt x="115" y="704"/>
                  </a:lnTo>
                  <a:lnTo>
                    <a:pt x="126" y="699"/>
                  </a:lnTo>
                  <a:lnTo>
                    <a:pt x="132" y="699"/>
                  </a:lnTo>
                  <a:lnTo>
                    <a:pt x="137" y="688"/>
                  </a:lnTo>
                  <a:lnTo>
                    <a:pt x="148" y="677"/>
                  </a:lnTo>
                  <a:lnTo>
                    <a:pt x="154" y="677"/>
                  </a:lnTo>
                  <a:lnTo>
                    <a:pt x="154" y="682"/>
                  </a:lnTo>
                  <a:lnTo>
                    <a:pt x="148" y="682"/>
                  </a:lnTo>
                  <a:lnTo>
                    <a:pt x="154" y="693"/>
                  </a:lnTo>
                  <a:lnTo>
                    <a:pt x="148" y="699"/>
                  </a:lnTo>
                  <a:lnTo>
                    <a:pt x="148" y="754"/>
                  </a:lnTo>
                  <a:lnTo>
                    <a:pt x="154" y="748"/>
                  </a:lnTo>
                  <a:lnTo>
                    <a:pt x="154" y="754"/>
                  </a:lnTo>
                  <a:lnTo>
                    <a:pt x="159" y="754"/>
                  </a:lnTo>
                  <a:lnTo>
                    <a:pt x="165" y="754"/>
                  </a:lnTo>
                  <a:lnTo>
                    <a:pt x="176" y="748"/>
                  </a:lnTo>
                  <a:lnTo>
                    <a:pt x="181" y="748"/>
                  </a:lnTo>
                  <a:lnTo>
                    <a:pt x="187" y="748"/>
                  </a:lnTo>
                  <a:lnTo>
                    <a:pt x="192" y="748"/>
                  </a:lnTo>
                  <a:lnTo>
                    <a:pt x="198" y="748"/>
                  </a:lnTo>
                  <a:lnTo>
                    <a:pt x="214" y="748"/>
                  </a:lnTo>
                  <a:lnTo>
                    <a:pt x="220" y="754"/>
                  </a:lnTo>
                  <a:lnTo>
                    <a:pt x="231" y="748"/>
                  </a:lnTo>
                  <a:lnTo>
                    <a:pt x="225" y="754"/>
                  </a:lnTo>
                  <a:lnTo>
                    <a:pt x="236" y="754"/>
                  </a:lnTo>
                  <a:lnTo>
                    <a:pt x="242" y="754"/>
                  </a:lnTo>
                  <a:lnTo>
                    <a:pt x="247" y="748"/>
                  </a:lnTo>
                  <a:lnTo>
                    <a:pt x="258" y="737"/>
                  </a:lnTo>
                  <a:lnTo>
                    <a:pt x="269" y="732"/>
                  </a:lnTo>
                  <a:lnTo>
                    <a:pt x="275" y="737"/>
                  </a:lnTo>
                  <a:lnTo>
                    <a:pt x="280" y="726"/>
                  </a:lnTo>
                  <a:lnTo>
                    <a:pt x="286" y="721"/>
                  </a:lnTo>
                  <a:lnTo>
                    <a:pt x="291" y="721"/>
                  </a:lnTo>
                  <a:lnTo>
                    <a:pt x="291" y="715"/>
                  </a:lnTo>
                  <a:lnTo>
                    <a:pt x="297" y="715"/>
                  </a:lnTo>
                  <a:lnTo>
                    <a:pt x="302" y="715"/>
                  </a:lnTo>
                  <a:lnTo>
                    <a:pt x="313" y="704"/>
                  </a:lnTo>
                  <a:lnTo>
                    <a:pt x="319" y="699"/>
                  </a:lnTo>
                  <a:lnTo>
                    <a:pt x="330" y="699"/>
                  </a:lnTo>
                  <a:lnTo>
                    <a:pt x="335" y="699"/>
                  </a:lnTo>
                  <a:lnTo>
                    <a:pt x="346" y="693"/>
                  </a:lnTo>
                  <a:lnTo>
                    <a:pt x="357" y="693"/>
                  </a:lnTo>
                  <a:lnTo>
                    <a:pt x="363" y="693"/>
                  </a:lnTo>
                  <a:lnTo>
                    <a:pt x="368" y="699"/>
                  </a:lnTo>
                  <a:lnTo>
                    <a:pt x="368" y="693"/>
                  </a:lnTo>
                  <a:lnTo>
                    <a:pt x="374" y="688"/>
                  </a:lnTo>
                  <a:lnTo>
                    <a:pt x="374" y="693"/>
                  </a:lnTo>
                  <a:lnTo>
                    <a:pt x="379" y="699"/>
                  </a:lnTo>
                  <a:lnTo>
                    <a:pt x="379" y="704"/>
                  </a:lnTo>
                  <a:lnTo>
                    <a:pt x="379" y="715"/>
                  </a:lnTo>
                  <a:lnTo>
                    <a:pt x="374" y="726"/>
                  </a:lnTo>
                  <a:lnTo>
                    <a:pt x="374" y="732"/>
                  </a:lnTo>
                  <a:lnTo>
                    <a:pt x="374" y="743"/>
                  </a:lnTo>
                  <a:lnTo>
                    <a:pt x="379" y="743"/>
                  </a:lnTo>
                  <a:lnTo>
                    <a:pt x="379" y="748"/>
                  </a:lnTo>
                  <a:lnTo>
                    <a:pt x="379" y="754"/>
                  </a:lnTo>
                  <a:lnTo>
                    <a:pt x="374" y="759"/>
                  </a:lnTo>
                  <a:lnTo>
                    <a:pt x="379" y="765"/>
                  </a:lnTo>
                  <a:lnTo>
                    <a:pt x="379" y="770"/>
                  </a:lnTo>
                  <a:lnTo>
                    <a:pt x="385" y="776"/>
                  </a:lnTo>
                  <a:lnTo>
                    <a:pt x="385" y="781"/>
                  </a:lnTo>
                  <a:lnTo>
                    <a:pt x="385" y="787"/>
                  </a:lnTo>
                  <a:lnTo>
                    <a:pt x="385" y="781"/>
                  </a:lnTo>
                  <a:lnTo>
                    <a:pt x="390" y="787"/>
                  </a:lnTo>
                  <a:lnTo>
                    <a:pt x="396" y="798"/>
                  </a:lnTo>
                  <a:lnTo>
                    <a:pt x="401" y="798"/>
                  </a:lnTo>
                  <a:lnTo>
                    <a:pt x="401" y="803"/>
                  </a:lnTo>
                  <a:lnTo>
                    <a:pt x="407" y="803"/>
                  </a:lnTo>
                  <a:lnTo>
                    <a:pt x="412" y="809"/>
                  </a:lnTo>
                  <a:lnTo>
                    <a:pt x="412" y="814"/>
                  </a:lnTo>
                  <a:lnTo>
                    <a:pt x="418" y="820"/>
                  </a:lnTo>
                  <a:lnTo>
                    <a:pt x="429" y="820"/>
                  </a:lnTo>
                  <a:lnTo>
                    <a:pt x="434" y="820"/>
                  </a:lnTo>
                  <a:lnTo>
                    <a:pt x="440" y="820"/>
                  </a:lnTo>
                  <a:lnTo>
                    <a:pt x="451" y="820"/>
                  </a:lnTo>
                  <a:lnTo>
                    <a:pt x="467" y="831"/>
                  </a:lnTo>
                  <a:lnTo>
                    <a:pt x="473" y="825"/>
                  </a:lnTo>
                  <a:lnTo>
                    <a:pt x="478" y="825"/>
                  </a:lnTo>
                  <a:lnTo>
                    <a:pt x="478" y="836"/>
                  </a:lnTo>
                  <a:lnTo>
                    <a:pt x="484" y="836"/>
                  </a:lnTo>
                  <a:lnTo>
                    <a:pt x="489" y="842"/>
                  </a:lnTo>
                  <a:lnTo>
                    <a:pt x="495" y="842"/>
                  </a:lnTo>
                  <a:lnTo>
                    <a:pt x="500" y="847"/>
                  </a:lnTo>
                  <a:lnTo>
                    <a:pt x="506" y="847"/>
                  </a:lnTo>
                  <a:lnTo>
                    <a:pt x="511" y="847"/>
                  </a:lnTo>
                  <a:lnTo>
                    <a:pt x="517" y="847"/>
                  </a:lnTo>
                  <a:lnTo>
                    <a:pt x="517" y="853"/>
                  </a:lnTo>
                  <a:lnTo>
                    <a:pt x="528" y="864"/>
                  </a:lnTo>
                  <a:lnTo>
                    <a:pt x="528" y="869"/>
                  </a:lnTo>
                  <a:lnTo>
                    <a:pt x="539" y="864"/>
                  </a:lnTo>
                  <a:lnTo>
                    <a:pt x="544" y="869"/>
                  </a:lnTo>
                  <a:lnTo>
                    <a:pt x="550" y="864"/>
                  </a:lnTo>
                  <a:lnTo>
                    <a:pt x="555" y="869"/>
                  </a:lnTo>
                  <a:lnTo>
                    <a:pt x="561" y="869"/>
                  </a:lnTo>
                  <a:lnTo>
                    <a:pt x="566" y="864"/>
                  </a:lnTo>
                  <a:lnTo>
                    <a:pt x="566" y="869"/>
                  </a:lnTo>
                  <a:lnTo>
                    <a:pt x="577" y="875"/>
                  </a:lnTo>
                  <a:lnTo>
                    <a:pt x="583" y="875"/>
                  </a:lnTo>
                  <a:lnTo>
                    <a:pt x="588" y="880"/>
                  </a:lnTo>
                  <a:lnTo>
                    <a:pt x="594" y="886"/>
                  </a:lnTo>
                  <a:lnTo>
                    <a:pt x="588" y="897"/>
                  </a:lnTo>
                  <a:lnTo>
                    <a:pt x="594" y="897"/>
                  </a:lnTo>
                  <a:lnTo>
                    <a:pt x="594" y="902"/>
                  </a:lnTo>
                  <a:lnTo>
                    <a:pt x="594" y="913"/>
                  </a:lnTo>
                  <a:lnTo>
                    <a:pt x="594" y="919"/>
                  </a:lnTo>
                  <a:lnTo>
                    <a:pt x="594" y="924"/>
                  </a:lnTo>
                  <a:lnTo>
                    <a:pt x="594" y="941"/>
                  </a:lnTo>
                  <a:lnTo>
                    <a:pt x="583" y="941"/>
                  </a:lnTo>
                  <a:lnTo>
                    <a:pt x="599" y="957"/>
                  </a:lnTo>
                  <a:lnTo>
                    <a:pt x="605" y="996"/>
                  </a:lnTo>
                  <a:lnTo>
                    <a:pt x="676" y="996"/>
                  </a:lnTo>
                  <a:lnTo>
                    <a:pt x="682" y="996"/>
                  </a:lnTo>
                  <a:lnTo>
                    <a:pt x="682" y="1001"/>
                  </a:lnTo>
                  <a:lnTo>
                    <a:pt x="682" y="1007"/>
                  </a:lnTo>
                  <a:lnTo>
                    <a:pt x="676" y="1012"/>
                  </a:lnTo>
                  <a:lnTo>
                    <a:pt x="682" y="1040"/>
                  </a:lnTo>
                  <a:lnTo>
                    <a:pt x="698" y="1045"/>
                  </a:lnTo>
                  <a:lnTo>
                    <a:pt x="709" y="1056"/>
                  </a:lnTo>
                  <a:lnTo>
                    <a:pt x="709" y="1062"/>
                  </a:lnTo>
                  <a:lnTo>
                    <a:pt x="709" y="1067"/>
                  </a:lnTo>
                  <a:lnTo>
                    <a:pt x="720" y="1084"/>
                  </a:lnTo>
                  <a:lnTo>
                    <a:pt x="715" y="1084"/>
                  </a:lnTo>
                  <a:lnTo>
                    <a:pt x="709" y="1116"/>
                  </a:lnTo>
                  <a:lnTo>
                    <a:pt x="709" y="1122"/>
                  </a:lnTo>
                  <a:lnTo>
                    <a:pt x="693" y="1155"/>
                  </a:lnTo>
                  <a:lnTo>
                    <a:pt x="704" y="1166"/>
                  </a:lnTo>
                  <a:lnTo>
                    <a:pt x="698" y="1166"/>
                  </a:lnTo>
                  <a:lnTo>
                    <a:pt x="693" y="1171"/>
                  </a:lnTo>
                  <a:lnTo>
                    <a:pt x="693" y="1177"/>
                  </a:lnTo>
                  <a:lnTo>
                    <a:pt x="693" y="1182"/>
                  </a:lnTo>
                  <a:lnTo>
                    <a:pt x="698" y="1188"/>
                  </a:lnTo>
                  <a:lnTo>
                    <a:pt x="698" y="1193"/>
                  </a:lnTo>
                  <a:lnTo>
                    <a:pt x="698" y="1199"/>
                  </a:lnTo>
                  <a:lnTo>
                    <a:pt x="698" y="1193"/>
                  </a:lnTo>
                  <a:lnTo>
                    <a:pt x="704" y="1199"/>
                  </a:lnTo>
                  <a:lnTo>
                    <a:pt x="698" y="1204"/>
                  </a:lnTo>
                  <a:lnTo>
                    <a:pt x="704" y="1204"/>
                  </a:lnTo>
                  <a:lnTo>
                    <a:pt x="698" y="1204"/>
                  </a:lnTo>
                  <a:lnTo>
                    <a:pt x="704" y="1210"/>
                  </a:lnTo>
                  <a:lnTo>
                    <a:pt x="704" y="1215"/>
                  </a:lnTo>
                  <a:lnTo>
                    <a:pt x="704" y="1221"/>
                  </a:lnTo>
                  <a:lnTo>
                    <a:pt x="704" y="1226"/>
                  </a:lnTo>
                  <a:lnTo>
                    <a:pt x="698" y="1237"/>
                  </a:lnTo>
                  <a:lnTo>
                    <a:pt x="698" y="1243"/>
                  </a:lnTo>
                  <a:lnTo>
                    <a:pt x="704" y="1243"/>
                  </a:lnTo>
                  <a:lnTo>
                    <a:pt x="698" y="1248"/>
                  </a:lnTo>
                  <a:lnTo>
                    <a:pt x="698" y="1254"/>
                  </a:lnTo>
                  <a:lnTo>
                    <a:pt x="698" y="1259"/>
                  </a:lnTo>
                  <a:lnTo>
                    <a:pt x="704" y="1265"/>
                  </a:lnTo>
                  <a:lnTo>
                    <a:pt x="709" y="1265"/>
                  </a:lnTo>
                  <a:lnTo>
                    <a:pt x="709" y="1259"/>
                  </a:lnTo>
                  <a:lnTo>
                    <a:pt x="715" y="1259"/>
                  </a:lnTo>
                  <a:lnTo>
                    <a:pt x="715" y="1265"/>
                  </a:lnTo>
                  <a:lnTo>
                    <a:pt x="720" y="1265"/>
                  </a:lnTo>
                  <a:lnTo>
                    <a:pt x="726" y="1270"/>
                  </a:lnTo>
                  <a:lnTo>
                    <a:pt x="726" y="1265"/>
                  </a:lnTo>
                  <a:lnTo>
                    <a:pt x="731" y="1270"/>
                  </a:lnTo>
                  <a:lnTo>
                    <a:pt x="731" y="1265"/>
                  </a:lnTo>
                  <a:lnTo>
                    <a:pt x="731" y="1270"/>
                  </a:lnTo>
                  <a:lnTo>
                    <a:pt x="737" y="1265"/>
                  </a:lnTo>
                  <a:lnTo>
                    <a:pt x="737" y="1270"/>
                  </a:lnTo>
                  <a:lnTo>
                    <a:pt x="742" y="1270"/>
                  </a:lnTo>
                  <a:lnTo>
                    <a:pt x="748" y="1270"/>
                  </a:lnTo>
                  <a:lnTo>
                    <a:pt x="753" y="1270"/>
                  </a:lnTo>
                  <a:lnTo>
                    <a:pt x="759" y="1270"/>
                  </a:lnTo>
                  <a:lnTo>
                    <a:pt x="753" y="1270"/>
                  </a:lnTo>
                  <a:lnTo>
                    <a:pt x="759" y="1270"/>
                  </a:lnTo>
                  <a:lnTo>
                    <a:pt x="764" y="1259"/>
                  </a:lnTo>
                  <a:lnTo>
                    <a:pt x="770" y="1265"/>
                  </a:lnTo>
                  <a:lnTo>
                    <a:pt x="775" y="1270"/>
                  </a:lnTo>
                  <a:lnTo>
                    <a:pt x="781" y="1270"/>
                  </a:lnTo>
                  <a:lnTo>
                    <a:pt x="786" y="1270"/>
                  </a:lnTo>
                  <a:lnTo>
                    <a:pt x="792" y="1270"/>
                  </a:lnTo>
                  <a:lnTo>
                    <a:pt x="797" y="1276"/>
                  </a:lnTo>
                  <a:lnTo>
                    <a:pt x="797" y="1281"/>
                  </a:lnTo>
                  <a:lnTo>
                    <a:pt x="803" y="1287"/>
                  </a:lnTo>
                  <a:lnTo>
                    <a:pt x="803" y="1303"/>
                  </a:lnTo>
                  <a:lnTo>
                    <a:pt x="803" y="1309"/>
                  </a:lnTo>
                  <a:lnTo>
                    <a:pt x="808" y="1314"/>
                  </a:lnTo>
                  <a:lnTo>
                    <a:pt x="803" y="1320"/>
                  </a:lnTo>
                  <a:lnTo>
                    <a:pt x="808" y="1320"/>
                  </a:lnTo>
                  <a:lnTo>
                    <a:pt x="803" y="1325"/>
                  </a:lnTo>
                  <a:lnTo>
                    <a:pt x="808" y="1331"/>
                  </a:lnTo>
                  <a:lnTo>
                    <a:pt x="808" y="1336"/>
                  </a:lnTo>
                  <a:lnTo>
                    <a:pt x="808" y="1347"/>
                  </a:lnTo>
                  <a:lnTo>
                    <a:pt x="819" y="1353"/>
                  </a:lnTo>
                  <a:lnTo>
                    <a:pt x="825" y="1347"/>
                  </a:lnTo>
                  <a:lnTo>
                    <a:pt x="830" y="1347"/>
                  </a:lnTo>
                  <a:lnTo>
                    <a:pt x="841" y="1342"/>
                  </a:lnTo>
                  <a:lnTo>
                    <a:pt x="852" y="1347"/>
                  </a:lnTo>
                  <a:lnTo>
                    <a:pt x="858" y="1353"/>
                  </a:lnTo>
                  <a:lnTo>
                    <a:pt x="858" y="1369"/>
                  </a:lnTo>
                  <a:lnTo>
                    <a:pt x="858" y="1375"/>
                  </a:lnTo>
                  <a:lnTo>
                    <a:pt x="858" y="1380"/>
                  </a:lnTo>
                  <a:lnTo>
                    <a:pt x="852" y="1386"/>
                  </a:lnTo>
                  <a:lnTo>
                    <a:pt x="852" y="1397"/>
                  </a:lnTo>
                  <a:lnTo>
                    <a:pt x="852" y="1402"/>
                  </a:lnTo>
                  <a:lnTo>
                    <a:pt x="847" y="1413"/>
                  </a:lnTo>
                  <a:lnTo>
                    <a:pt x="847" y="1419"/>
                  </a:lnTo>
                  <a:lnTo>
                    <a:pt x="847" y="1424"/>
                  </a:lnTo>
                  <a:lnTo>
                    <a:pt x="852" y="1424"/>
                  </a:lnTo>
                  <a:lnTo>
                    <a:pt x="858" y="1424"/>
                  </a:lnTo>
                  <a:lnTo>
                    <a:pt x="858" y="1419"/>
                  </a:lnTo>
                  <a:lnTo>
                    <a:pt x="858" y="1424"/>
                  </a:lnTo>
                  <a:lnTo>
                    <a:pt x="863" y="1424"/>
                  </a:lnTo>
                  <a:lnTo>
                    <a:pt x="863" y="1419"/>
                  </a:lnTo>
                  <a:lnTo>
                    <a:pt x="869" y="1419"/>
                  </a:lnTo>
                  <a:lnTo>
                    <a:pt x="869" y="1424"/>
                  </a:lnTo>
                  <a:lnTo>
                    <a:pt x="869" y="1419"/>
                  </a:lnTo>
                  <a:lnTo>
                    <a:pt x="874" y="1424"/>
                  </a:lnTo>
                  <a:lnTo>
                    <a:pt x="880" y="1424"/>
                  </a:lnTo>
                  <a:lnTo>
                    <a:pt x="874" y="1430"/>
                  </a:lnTo>
                  <a:lnTo>
                    <a:pt x="880" y="1430"/>
                  </a:lnTo>
                  <a:lnTo>
                    <a:pt x="880" y="1441"/>
                  </a:lnTo>
                  <a:lnTo>
                    <a:pt x="885" y="1441"/>
                  </a:lnTo>
                  <a:lnTo>
                    <a:pt x="885" y="1446"/>
                  </a:lnTo>
                  <a:lnTo>
                    <a:pt x="885" y="1452"/>
                  </a:lnTo>
                  <a:lnTo>
                    <a:pt x="885" y="1457"/>
                  </a:lnTo>
                  <a:lnTo>
                    <a:pt x="885" y="1474"/>
                  </a:lnTo>
                  <a:lnTo>
                    <a:pt x="880" y="1474"/>
                  </a:lnTo>
                  <a:lnTo>
                    <a:pt x="885" y="1474"/>
                  </a:lnTo>
                  <a:lnTo>
                    <a:pt x="885" y="1485"/>
                  </a:lnTo>
                  <a:lnTo>
                    <a:pt x="880" y="1496"/>
                  </a:lnTo>
                  <a:lnTo>
                    <a:pt x="874" y="1496"/>
                  </a:lnTo>
                  <a:lnTo>
                    <a:pt x="869" y="1496"/>
                  </a:lnTo>
                  <a:lnTo>
                    <a:pt x="869" y="1501"/>
                  </a:lnTo>
                  <a:lnTo>
                    <a:pt x="863" y="1501"/>
                  </a:lnTo>
                  <a:lnTo>
                    <a:pt x="863" y="1507"/>
                  </a:lnTo>
                  <a:lnTo>
                    <a:pt x="858" y="1507"/>
                  </a:lnTo>
                  <a:lnTo>
                    <a:pt x="852" y="1507"/>
                  </a:lnTo>
                  <a:lnTo>
                    <a:pt x="847" y="1512"/>
                  </a:lnTo>
                  <a:lnTo>
                    <a:pt x="847" y="1507"/>
                  </a:lnTo>
                  <a:lnTo>
                    <a:pt x="847" y="1512"/>
                  </a:lnTo>
                  <a:lnTo>
                    <a:pt x="841" y="1512"/>
                  </a:lnTo>
                  <a:lnTo>
                    <a:pt x="836" y="1512"/>
                  </a:lnTo>
                  <a:lnTo>
                    <a:pt x="836" y="1518"/>
                  </a:lnTo>
                  <a:lnTo>
                    <a:pt x="830" y="1518"/>
                  </a:lnTo>
                  <a:lnTo>
                    <a:pt x="830" y="1523"/>
                  </a:lnTo>
                  <a:lnTo>
                    <a:pt x="825" y="1523"/>
                  </a:lnTo>
                  <a:lnTo>
                    <a:pt x="825" y="1529"/>
                  </a:lnTo>
                  <a:lnTo>
                    <a:pt x="819" y="1529"/>
                  </a:lnTo>
                  <a:lnTo>
                    <a:pt x="814" y="1529"/>
                  </a:lnTo>
                  <a:lnTo>
                    <a:pt x="814" y="1534"/>
                  </a:lnTo>
                  <a:lnTo>
                    <a:pt x="808" y="1540"/>
                  </a:lnTo>
                  <a:lnTo>
                    <a:pt x="803" y="1540"/>
                  </a:lnTo>
                  <a:lnTo>
                    <a:pt x="797" y="1545"/>
                  </a:lnTo>
                  <a:lnTo>
                    <a:pt x="797" y="1551"/>
                  </a:lnTo>
                  <a:lnTo>
                    <a:pt x="792" y="1551"/>
                  </a:lnTo>
                  <a:lnTo>
                    <a:pt x="792" y="1556"/>
                  </a:lnTo>
                  <a:lnTo>
                    <a:pt x="786" y="1556"/>
                  </a:lnTo>
                  <a:lnTo>
                    <a:pt x="786" y="1562"/>
                  </a:lnTo>
                  <a:lnTo>
                    <a:pt x="781" y="1567"/>
                  </a:lnTo>
                  <a:lnTo>
                    <a:pt x="775" y="1567"/>
                  </a:lnTo>
                  <a:lnTo>
                    <a:pt x="770" y="1573"/>
                  </a:lnTo>
                  <a:lnTo>
                    <a:pt x="770" y="1578"/>
                  </a:lnTo>
                  <a:lnTo>
                    <a:pt x="764" y="1578"/>
                  </a:lnTo>
                  <a:lnTo>
                    <a:pt x="764" y="1584"/>
                  </a:lnTo>
                  <a:lnTo>
                    <a:pt x="753" y="1589"/>
                  </a:lnTo>
                  <a:lnTo>
                    <a:pt x="753" y="1595"/>
                  </a:lnTo>
                  <a:lnTo>
                    <a:pt x="753" y="1600"/>
                  </a:lnTo>
                  <a:lnTo>
                    <a:pt x="737" y="1617"/>
                  </a:lnTo>
                  <a:lnTo>
                    <a:pt x="731" y="1617"/>
                  </a:lnTo>
                  <a:lnTo>
                    <a:pt x="726" y="1628"/>
                  </a:lnTo>
                  <a:lnTo>
                    <a:pt x="720" y="1633"/>
                  </a:lnTo>
                  <a:lnTo>
                    <a:pt x="715" y="1633"/>
                  </a:lnTo>
                  <a:lnTo>
                    <a:pt x="715" y="1639"/>
                  </a:lnTo>
                  <a:lnTo>
                    <a:pt x="720" y="1639"/>
                  </a:lnTo>
                  <a:lnTo>
                    <a:pt x="726" y="1639"/>
                  </a:lnTo>
                  <a:lnTo>
                    <a:pt x="731" y="1639"/>
                  </a:lnTo>
                  <a:lnTo>
                    <a:pt x="737" y="1633"/>
                  </a:lnTo>
                  <a:lnTo>
                    <a:pt x="748" y="1633"/>
                  </a:lnTo>
                  <a:lnTo>
                    <a:pt x="759" y="1639"/>
                  </a:lnTo>
                  <a:lnTo>
                    <a:pt x="770" y="1650"/>
                  </a:lnTo>
                  <a:lnTo>
                    <a:pt x="775" y="1650"/>
                  </a:lnTo>
                  <a:lnTo>
                    <a:pt x="775" y="1655"/>
                  </a:lnTo>
                  <a:lnTo>
                    <a:pt x="781" y="1655"/>
                  </a:lnTo>
                  <a:lnTo>
                    <a:pt x="786" y="1661"/>
                  </a:lnTo>
                  <a:lnTo>
                    <a:pt x="786" y="1677"/>
                  </a:lnTo>
                  <a:lnTo>
                    <a:pt x="797" y="1672"/>
                  </a:lnTo>
                  <a:lnTo>
                    <a:pt x="803" y="1672"/>
                  </a:lnTo>
                  <a:lnTo>
                    <a:pt x="803" y="1666"/>
                  </a:lnTo>
                  <a:lnTo>
                    <a:pt x="808" y="1672"/>
                  </a:lnTo>
                  <a:lnTo>
                    <a:pt x="819" y="1683"/>
                  </a:lnTo>
                  <a:lnTo>
                    <a:pt x="825" y="1688"/>
                  </a:lnTo>
                  <a:lnTo>
                    <a:pt x="825" y="1683"/>
                  </a:lnTo>
                  <a:lnTo>
                    <a:pt x="836" y="1694"/>
                  </a:lnTo>
                  <a:lnTo>
                    <a:pt x="847" y="1694"/>
                  </a:lnTo>
                  <a:lnTo>
                    <a:pt x="852" y="1699"/>
                  </a:lnTo>
                  <a:lnTo>
                    <a:pt x="852" y="1705"/>
                  </a:lnTo>
                  <a:lnTo>
                    <a:pt x="863" y="1716"/>
                  </a:lnTo>
                  <a:lnTo>
                    <a:pt x="869" y="1716"/>
                  </a:lnTo>
                  <a:lnTo>
                    <a:pt x="869" y="1710"/>
                  </a:lnTo>
                  <a:lnTo>
                    <a:pt x="869" y="1716"/>
                  </a:lnTo>
                  <a:lnTo>
                    <a:pt x="874" y="1716"/>
                  </a:lnTo>
                  <a:lnTo>
                    <a:pt x="880" y="1721"/>
                  </a:lnTo>
                  <a:lnTo>
                    <a:pt x="885" y="1721"/>
                  </a:lnTo>
                  <a:lnTo>
                    <a:pt x="885" y="1727"/>
                  </a:lnTo>
                  <a:lnTo>
                    <a:pt x="885" y="1732"/>
                  </a:lnTo>
                  <a:lnTo>
                    <a:pt x="885" y="1738"/>
                  </a:lnTo>
                  <a:lnTo>
                    <a:pt x="891" y="1738"/>
                  </a:lnTo>
                  <a:lnTo>
                    <a:pt x="896" y="1743"/>
                  </a:lnTo>
                  <a:lnTo>
                    <a:pt x="907" y="1749"/>
                  </a:lnTo>
                  <a:lnTo>
                    <a:pt x="913" y="1749"/>
                  </a:lnTo>
                  <a:lnTo>
                    <a:pt x="902" y="1760"/>
                  </a:lnTo>
                  <a:lnTo>
                    <a:pt x="902" y="1765"/>
                  </a:lnTo>
                  <a:lnTo>
                    <a:pt x="896" y="1765"/>
                  </a:lnTo>
                  <a:lnTo>
                    <a:pt x="891" y="1776"/>
                  </a:lnTo>
                  <a:lnTo>
                    <a:pt x="896" y="1782"/>
                  </a:lnTo>
                  <a:lnTo>
                    <a:pt x="891" y="1793"/>
                  </a:lnTo>
                  <a:lnTo>
                    <a:pt x="896" y="1798"/>
                  </a:lnTo>
                  <a:lnTo>
                    <a:pt x="902" y="1798"/>
                  </a:lnTo>
                  <a:lnTo>
                    <a:pt x="924" y="1782"/>
                  </a:lnTo>
                  <a:lnTo>
                    <a:pt x="929" y="1771"/>
                  </a:lnTo>
                  <a:lnTo>
                    <a:pt x="935" y="1760"/>
                  </a:lnTo>
                  <a:lnTo>
                    <a:pt x="940" y="1743"/>
                  </a:lnTo>
                  <a:lnTo>
                    <a:pt x="951" y="1732"/>
                  </a:lnTo>
                  <a:lnTo>
                    <a:pt x="957" y="1727"/>
                  </a:lnTo>
                  <a:lnTo>
                    <a:pt x="957" y="1721"/>
                  </a:lnTo>
                  <a:lnTo>
                    <a:pt x="951" y="1727"/>
                  </a:lnTo>
                  <a:lnTo>
                    <a:pt x="951" y="1721"/>
                  </a:lnTo>
                  <a:lnTo>
                    <a:pt x="957" y="1721"/>
                  </a:lnTo>
                  <a:lnTo>
                    <a:pt x="951" y="1721"/>
                  </a:lnTo>
                  <a:lnTo>
                    <a:pt x="946" y="1721"/>
                  </a:lnTo>
                  <a:lnTo>
                    <a:pt x="951" y="1716"/>
                  </a:lnTo>
                  <a:lnTo>
                    <a:pt x="946" y="1710"/>
                  </a:lnTo>
                  <a:lnTo>
                    <a:pt x="951" y="1710"/>
                  </a:lnTo>
                  <a:lnTo>
                    <a:pt x="951" y="1705"/>
                  </a:lnTo>
                  <a:lnTo>
                    <a:pt x="957" y="1699"/>
                  </a:lnTo>
                  <a:lnTo>
                    <a:pt x="957" y="1694"/>
                  </a:lnTo>
                  <a:lnTo>
                    <a:pt x="962" y="1688"/>
                  </a:lnTo>
                  <a:lnTo>
                    <a:pt x="968" y="1683"/>
                  </a:lnTo>
                  <a:lnTo>
                    <a:pt x="973" y="1683"/>
                  </a:lnTo>
                  <a:lnTo>
                    <a:pt x="973" y="1677"/>
                  </a:lnTo>
                  <a:lnTo>
                    <a:pt x="984" y="1677"/>
                  </a:lnTo>
                  <a:lnTo>
                    <a:pt x="979" y="1677"/>
                  </a:lnTo>
                  <a:lnTo>
                    <a:pt x="979" y="1672"/>
                  </a:lnTo>
                  <a:lnTo>
                    <a:pt x="984" y="1666"/>
                  </a:lnTo>
                  <a:lnTo>
                    <a:pt x="990" y="1666"/>
                  </a:lnTo>
                  <a:lnTo>
                    <a:pt x="984" y="1655"/>
                  </a:lnTo>
                  <a:lnTo>
                    <a:pt x="990" y="1655"/>
                  </a:lnTo>
                  <a:lnTo>
                    <a:pt x="990" y="1661"/>
                  </a:lnTo>
                  <a:lnTo>
                    <a:pt x="990" y="1655"/>
                  </a:lnTo>
                  <a:lnTo>
                    <a:pt x="990" y="1650"/>
                  </a:lnTo>
                  <a:lnTo>
                    <a:pt x="995" y="1644"/>
                  </a:lnTo>
                  <a:lnTo>
                    <a:pt x="1001" y="1644"/>
                  </a:lnTo>
                  <a:lnTo>
                    <a:pt x="995" y="1644"/>
                  </a:lnTo>
                  <a:lnTo>
                    <a:pt x="995" y="1639"/>
                  </a:lnTo>
                  <a:lnTo>
                    <a:pt x="990" y="1639"/>
                  </a:lnTo>
                  <a:lnTo>
                    <a:pt x="990" y="1633"/>
                  </a:lnTo>
                  <a:lnTo>
                    <a:pt x="990" y="1628"/>
                  </a:lnTo>
                  <a:lnTo>
                    <a:pt x="995" y="1628"/>
                  </a:lnTo>
                  <a:lnTo>
                    <a:pt x="990" y="1633"/>
                  </a:lnTo>
                  <a:lnTo>
                    <a:pt x="995" y="1633"/>
                  </a:lnTo>
                  <a:lnTo>
                    <a:pt x="995" y="1639"/>
                  </a:lnTo>
                  <a:lnTo>
                    <a:pt x="1001" y="1639"/>
                  </a:lnTo>
                  <a:lnTo>
                    <a:pt x="1001" y="1644"/>
                  </a:lnTo>
                  <a:lnTo>
                    <a:pt x="1006" y="1644"/>
                  </a:lnTo>
                  <a:lnTo>
                    <a:pt x="1006" y="1639"/>
                  </a:lnTo>
                  <a:lnTo>
                    <a:pt x="1012" y="1644"/>
                  </a:lnTo>
                  <a:lnTo>
                    <a:pt x="1012" y="1639"/>
                  </a:lnTo>
                  <a:lnTo>
                    <a:pt x="1017" y="1639"/>
                  </a:lnTo>
                  <a:lnTo>
                    <a:pt x="1017" y="1633"/>
                  </a:lnTo>
                  <a:lnTo>
                    <a:pt x="1023" y="1639"/>
                  </a:lnTo>
                  <a:lnTo>
                    <a:pt x="1023" y="1644"/>
                  </a:lnTo>
                  <a:lnTo>
                    <a:pt x="1017" y="1650"/>
                  </a:lnTo>
                  <a:lnTo>
                    <a:pt x="1017" y="1644"/>
                  </a:lnTo>
                  <a:lnTo>
                    <a:pt x="1012" y="1644"/>
                  </a:lnTo>
                  <a:lnTo>
                    <a:pt x="1017" y="1650"/>
                  </a:lnTo>
                  <a:lnTo>
                    <a:pt x="1017" y="1655"/>
                  </a:lnTo>
                  <a:lnTo>
                    <a:pt x="1017" y="1661"/>
                  </a:lnTo>
                  <a:lnTo>
                    <a:pt x="1012" y="1661"/>
                  </a:lnTo>
                  <a:lnTo>
                    <a:pt x="1006" y="1666"/>
                  </a:lnTo>
                  <a:lnTo>
                    <a:pt x="1001" y="1666"/>
                  </a:lnTo>
                  <a:lnTo>
                    <a:pt x="1006" y="1672"/>
                  </a:lnTo>
                  <a:lnTo>
                    <a:pt x="1001" y="1677"/>
                  </a:lnTo>
                  <a:lnTo>
                    <a:pt x="1006" y="1677"/>
                  </a:lnTo>
                  <a:lnTo>
                    <a:pt x="1001" y="1677"/>
                  </a:lnTo>
                  <a:lnTo>
                    <a:pt x="995" y="1677"/>
                  </a:lnTo>
                  <a:lnTo>
                    <a:pt x="995" y="1683"/>
                  </a:lnTo>
                  <a:lnTo>
                    <a:pt x="995" y="1688"/>
                  </a:lnTo>
                  <a:lnTo>
                    <a:pt x="990" y="1694"/>
                  </a:lnTo>
                  <a:lnTo>
                    <a:pt x="990" y="1699"/>
                  </a:lnTo>
                  <a:lnTo>
                    <a:pt x="984" y="1694"/>
                  </a:lnTo>
                  <a:lnTo>
                    <a:pt x="984" y="1699"/>
                  </a:lnTo>
                  <a:lnTo>
                    <a:pt x="979" y="1699"/>
                  </a:lnTo>
                  <a:lnTo>
                    <a:pt x="973" y="1710"/>
                  </a:lnTo>
                  <a:lnTo>
                    <a:pt x="968" y="1710"/>
                  </a:lnTo>
                  <a:lnTo>
                    <a:pt x="962" y="1710"/>
                  </a:lnTo>
                  <a:lnTo>
                    <a:pt x="957" y="1710"/>
                  </a:lnTo>
                  <a:lnTo>
                    <a:pt x="957" y="1716"/>
                  </a:lnTo>
                  <a:lnTo>
                    <a:pt x="957" y="1727"/>
                  </a:lnTo>
                  <a:lnTo>
                    <a:pt x="962" y="1716"/>
                  </a:lnTo>
                  <a:lnTo>
                    <a:pt x="984" y="1705"/>
                  </a:lnTo>
                  <a:lnTo>
                    <a:pt x="1001" y="1694"/>
                  </a:lnTo>
                  <a:lnTo>
                    <a:pt x="1017" y="1672"/>
                  </a:lnTo>
                  <a:lnTo>
                    <a:pt x="1034" y="1650"/>
                  </a:lnTo>
                  <a:lnTo>
                    <a:pt x="1045" y="1617"/>
                  </a:lnTo>
                  <a:lnTo>
                    <a:pt x="1067" y="1584"/>
                  </a:lnTo>
                  <a:lnTo>
                    <a:pt x="1089" y="1567"/>
                  </a:lnTo>
                  <a:lnTo>
                    <a:pt x="1100" y="1562"/>
                  </a:lnTo>
                  <a:lnTo>
                    <a:pt x="1100" y="1556"/>
                  </a:lnTo>
                  <a:lnTo>
                    <a:pt x="1094" y="1556"/>
                  </a:lnTo>
                  <a:lnTo>
                    <a:pt x="1094" y="1551"/>
                  </a:lnTo>
                  <a:lnTo>
                    <a:pt x="1100" y="1551"/>
                  </a:lnTo>
                  <a:lnTo>
                    <a:pt x="1100" y="1556"/>
                  </a:lnTo>
                  <a:lnTo>
                    <a:pt x="1105" y="1545"/>
                  </a:lnTo>
                  <a:lnTo>
                    <a:pt x="1105" y="1534"/>
                  </a:lnTo>
                  <a:lnTo>
                    <a:pt x="1111" y="1523"/>
                  </a:lnTo>
                  <a:lnTo>
                    <a:pt x="1105" y="1523"/>
                  </a:lnTo>
                  <a:lnTo>
                    <a:pt x="1105" y="1518"/>
                  </a:lnTo>
                  <a:lnTo>
                    <a:pt x="1111" y="1512"/>
                  </a:lnTo>
                  <a:lnTo>
                    <a:pt x="1105" y="1512"/>
                  </a:lnTo>
                  <a:lnTo>
                    <a:pt x="1105" y="1507"/>
                  </a:lnTo>
                  <a:lnTo>
                    <a:pt x="1111" y="1507"/>
                  </a:lnTo>
                  <a:lnTo>
                    <a:pt x="1105" y="1501"/>
                  </a:lnTo>
                  <a:lnTo>
                    <a:pt x="1111" y="1496"/>
                  </a:lnTo>
                  <a:lnTo>
                    <a:pt x="1105" y="1496"/>
                  </a:lnTo>
                  <a:lnTo>
                    <a:pt x="1111" y="1490"/>
                  </a:lnTo>
                  <a:lnTo>
                    <a:pt x="1105" y="1485"/>
                  </a:lnTo>
                  <a:lnTo>
                    <a:pt x="1105" y="1479"/>
                  </a:lnTo>
                  <a:lnTo>
                    <a:pt x="1105" y="1474"/>
                  </a:lnTo>
                  <a:lnTo>
                    <a:pt x="1105" y="1468"/>
                  </a:lnTo>
                  <a:lnTo>
                    <a:pt x="1105" y="1463"/>
                  </a:lnTo>
                  <a:lnTo>
                    <a:pt x="1105" y="1457"/>
                  </a:lnTo>
                  <a:lnTo>
                    <a:pt x="1100" y="1457"/>
                  </a:lnTo>
                  <a:lnTo>
                    <a:pt x="1100" y="1452"/>
                  </a:lnTo>
                  <a:lnTo>
                    <a:pt x="1100" y="1446"/>
                  </a:lnTo>
                  <a:lnTo>
                    <a:pt x="1100" y="1452"/>
                  </a:lnTo>
                  <a:lnTo>
                    <a:pt x="1105" y="1452"/>
                  </a:lnTo>
                  <a:lnTo>
                    <a:pt x="1105" y="1446"/>
                  </a:lnTo>
                  <a:lnTo>
                    <a:pt x="1111" y="1435"/>
                  </a:lnTo>
                  <a:lnTo>
                    <a:pt x="1100" y="1435"/>
                  </a:lnTo>
                  <a:lnTo>
                    <a:pt x="1105" y="1435"/>
                  </a:lnTo>
                  <a:lnTo>
                    <a:pt x="1105" y="1430"/>
                  </a:lnTo>
                  <a:lnTo>
                    <a:pt x="1111" y="1435"/>
                  </a:lnTo>
                  <a:lnTo>
                    <a:pt x="1111" y="1424"/>
                  </a:lnTo>
                  <a:lnTo>
                    <a:pt x="1116" y="1424"/>
                  </a:lnTo>
                  <a:lnTo>
                    <a:pt x="1116" y="1419"/>
                  </a:lnTo>
                  <a:lnTo>
                    <a:pt x="1111" y="1424"/>
                  </a:lnTo>
                  <a:lnTo>
                    <a:pt x="1111" y="1419"/>
                  </a:lnTo>
                  <a:lnTo>
                    <a:pt x="1105" y="1419"/>
                  </a:lnTo>
                  <a:lnTo>
                    <a:pt x="1100" y="1419"/>
                  </a:lnTo>
                  <a:lnTo>
                    <a:pt x="1105" y="1419"/>
                  </a:lnTo>
                  <a:lnTo>
                    <a:pt x="1100" y="1413"/>
                  </a:lnTo>
                  <a:lnTo>
                    <a:pt x="1105" y="1419"/>
                  </a:lnTo>
                  <a:lnTo>
                    <a:pt x="1111" y="1419"/>
                  </a:lnTo>
                  <a:lnTo>
                    <a:pt x="1116" y="1413"/>
                  </a:lnTo>
                  <a:lnTo>
                    <a:pt x="1111" y="1413"/>
                  </a:lnTo>
                  <a:lnTo>
                    <a:pt x="1116" y="1408"/>
                  </a:lnTo>
                  <a:lnTo>
                    <a:pt x="1111" y="1408"/>
                  </a:lnTo>
                  <a:lnTo>
                    <a:pt x="1116" y="1408"/>
                  </a:lnTo>
                  <a:lnTo>
                    <a:pt x="1122" y="1413"/>
                  </a:lnTo>
                  <a:lnTo>
                    <a:pt x="1122" y="1408"/>
                  </a:lnTo>
                  <a:lnTo>
                    <a:pt x="1127" y="1408"/>
                  </a:lnTo>
                  <a:lnTo>
                    <a:pt x="1122" y="1413"/>
                  </a:lnTo>
                  <a:lnTo>
                    <a:pt x="1122" y="1419"/>
                  </a:lnTo>
                  <a:lnTo>
                    <a:pt x="1127" y="1413"/>
                  </a:lnTo>
                  <a:lnTo>
                    <a:pt x="1133" y="1402"/>
                  </a:lnTo>
                  <a:lnTo>
                    <a:pt x="1138" y="1402"/>
                  </a:lnTo>
                  <a:lnTo>
                    <a:pt x="1138" y="1397"/>
                  </a:lnTo>
                  <a:lnTo>
                    <a:pt x="1133" y="1397"/>
                  </a:lnTo>
                  <a:lnTo>
                    <a:pt x="1138" y="1391"/>
                  </a:lnTo>
                  <a:lnTo>
                    <a:pt x="1155" y="1380"/>
                  </a:lnTo>
                  <a:lnTo>
                    <a:pt x="1160" y="1380"/>
                  </a:lnTo>
                  <a:lnTo>
                    <a:pt x="1166" y="1375"/>
                  </a:lnTo>
                  <a:lnTo>
                    <a:pt x="1177" y="1369"/>
                  </a:lnTo>
                  <a:lnTo>
                    <a:pt x="1177" y="1364"/>
                  </a:lnTo>
                  <a:lnTo>
                    <a:pt x="1182" y="1364"/>
                  </a:lnTo>
                  <a:lnTo>
                    <a:pt x="1199" y="1353"/>
                  </a:lnTo>
                  <a:lnTo>
                    <a:pt x="1204" y="1353"/>
                  </a:lnTo>
                  <a:lnTo>
                    <a:pt x="1204" y="1347"/>
                  </a:lnTo>
                  <a:lnTo>
                    <a:pt x="1199" y="1347"/>
                  </a:lnTo>
                  <a:lnTo>
                    <a:pt x="1204" y="1347"/>
                  </a:lnTo>
                  <a:lnTo>
                    <a:pt x="1204" y="1342"/>
                  </a:lnTo>
                  <a:lnTo>
                    <a:pt x="1204" y="1347"/>
                  </a:lnTo>
                  <a:lnTo>
                    <a:pt x="1210" y="1347"/>
                  </a:lnTo>
                  <a:lnTo>
                    <a:pt x="1204" y="1353"/>
                  </a:lnTo>
                  <a:lnTo>
                    <a:pt x="1210" y="1353"/>
                  </a:lnTo>
                  <a:lnTo>
                    <a:pt x="1210" y="1347"/>
                  </a:lnTo>
                  <a:lnTo>
                    <a:pt x="1215" y="1347"/>
                  </a:lnTo>
                  <a:lnTo>
                    <a:pt x="1215" y="1342"/>
                  </a:lnTo>
                  <a:lnTo>
                    <a:pt x="1210" y="1347"/>
                  </a:lnTo>
                  <a:lnTo>
                    <a:pt x="1215" y="1342"/>
                  </a:lnTo>
                  <a:lnTo>
                    <a:pt x="1221" y="1342"/>
                  </a:lnTo>
                  <a:lnTo>
                    <a:pt x="1226" y="1336"/>
                  </a:lnTo>
                  <a:lnTo>
                    <a:pt x="1243" y="1342"/>
                  </a:lnTo>
                  <a:lnTo>
                    <a:pt x="1248" y="1342"/>
                  </a:lnTo>
                  <a:lnTo>
                    <a:pt x="1243" y="1336"/>
                  </a:lnTo>
                  <a:lnTo>
                    <a:pt x="1248" y="1331"/>
                  </a:lnTo>
                  <a:lnTo>
                    <a:pt x="1254" y="1331"/>
                  </a:lnTo>
                  <a:lnTo>
                    <a:pt x="1259" y="1331"/>
                  </a:lnTo>
                  <a:lnTo>
                    <a:pt x="1259" y="1325"/>
                  </a:lnTo>
                  <a:lnTo>
                    <a:pt x="1265" y="1325"/>
                  </a:lnTo>
                  <a:lnTo>
                    <a:pt x="1259" y="1325"/>
                  </a:lnTo>
                  <a:lnTo>
                    <a:pt x="1270" y="1320"/>
                  </a:lnTo>
                  <a:lnTo>
                    <a:pt x="1281" y="1320"/>
                  </a:lnTo>
                  <a:lnTo>
                    <a:pt x="1287" y="1320"/>
                  </a:lnTo>
                  <a:lnTo>
                    <a:pt x="1281" y="1314"/>
                  </a:lnTo>
                  <a:lnTo>
                    <a:pt x="1281" y="1320"/>
                  </a:lnTo>
                  <a:lnTo>
                    <a:pt x="1281" y="1314"/>
                  </a:lnTo>
                  <a:lnTo>
                    <a:pt x="1276" y="1314"/>
                  </a:lnTo>
                  <a:lnTo>
                    <a:pt x="1281" y="1314"/>
                  </a:lnTo>
                  <a:lnTo>
                    <a:pt x="1276" y="1314"/>
                  </a:lnTo>
                  <a:lnTo>
                    <a:pt x="1276" y="1309"/>
                  </a:lnTo>
                  <a:lnTo>
                    <a:pt x="1276" y="1303"/>
                  </a:lnTo>
                  <a:lnTo>
                    <a:pt x="1281" y="1309"/>
                  </a:lnTo>
                  <a:lnTo>
                    <a:pt x="1287" y="1303"/>
                  </a:lnTo>
                  <a:lnTo>
                    <a:pt x="1287" y="1298"/>
                  </a:lnTo>
                  <a:lnTo>
                    <a:pt x="1292" y="1303"/>
                  </a:lnTo>
                  <a:lnTo>
                    <a:pt x="1292" y="1298"/>
                  </a:lnTo>
                  <a:lnTo>
                    <a:pt x="1292" y="1303"/>
                  </a:lnTo>
                  <a:lnTo>
                    <a:pt x="1298" y="1303"/>
                  </a:lnTo>
                  <a:lnTo>
                    <a:pt x="1303" y="1303"/>
                  </a:lnTo>
                  <a:lnTo>
                    <a:pt x="1303" y="1298"/>
                  </a:lnTo>
                  <a:lnTo>
                    <a:pt x="1303" y="1303"/>
                  </a:lnTo>
                  <a:lnTo>
                    <a:pt x="1309" y="1298"/>
                  </a:lnTo>
                  <a:lnTo>
                    <a:pt x="1314" y="1298"/>
                  </a:lnTo>
                  <a:lnTo>
                    <a:pt x="1320" y="1298"/>
                  </a:lnTo>
                  <a:lnTo>
                    <a:pt x="1320" y="1303"/>
                  </a:lnTo>
                  <a:lnTo>
                    <a:pt x="1325" y="1303"/>
                  </a:lnTo>
                  <a:lnTo>
                    <a:pt x="1314" y="1303"/>
                  </a:lnTo>
                  <a:lnTo>
                    <a:pt x="1309" y="1303"/>
                  </a:lnTo>
                  <a:lnTo>
                    <a:pt x="1309" y="1309"/>
                  </a:lnTo>
                  <a:lnTo>
                    <a:pt x="1314" y="1309"/>
                  </a:lnTo>
                  <a:lnTo>
                    <a:pt x="1325" y="1309"/>
                  </a:lnTo>
                  <a:lnTo>
                    <a:pt x="1331" y="1303"/>
                  </a:lnTo>
                  <a:lnTo>
                    <a:pt x="1342" y="1303"/>
                  </a:lnTo>
                  <a:lnTo>
                    <a:pt x="1342" y="1298"/>
                  </a:lnTo>
                  <a:lnTo>
                    <a:pt x="1342" y="1292"/>
                  </a:lnTo>
                  <a:lnTo>
                    <a:pt x="1347" y="1287"/>
                  </a:lnTo>
                  <a:lnTo>
                    <a:pt x="1353" y="1287"/>
                  </a:lnTo>
                  <a:lnTo>
                    <a:pt x="1353" y="1292"/>
                  </a:lnTo>
                  <a:lnTo>
                    <a:pt x="1347" y="1292"/>
                  </a:lnTo>
                  <a:lnTo>
                    <a:pt x="1347" y="1298"/>
                  </a:lnTo>
                  <a:lnTo>
                    <a:pt x="1347" y="1303"/>
                  </a:lnTo>
                  <a:lnTo>
                    <a:pt x="1364" y="1303"/>
                  </a:lnTo>
                  <a:lnTo>
                    <a:pt x="1369" y="1298"/>
                  </a:lnTo>
                  <a:lnTo>
                    <a:pt x="1391" y="1303"/>
                  </a:lnTo>
                  <a:lnTo>
                    <a:pt x="1397" y="1298"/>
                  </a:lnTo>
                  <a:lnTo>
                    <a:pt x="1397" y="1292"/>
                  </a:lnTo>
                  <a:lnTo>
                    <a:pt x="1402" y="1292"/>
                  </a:lnTo>
                  <a:lnTo>
                    <a:pt x="1397" y="1292"/>
                  </a:lnTo>
                  <a:lnTo>
                    <a:pt x="1397" y="1287"/>
                  </a:lnTo>
                  <a:lnTo>
                    <a:pt x="1397" y="1281"/>
                  </a:lnTo>
                  <a:lnTo>
                    <a:pt x="1402" y="1270"/>
                  </a:lnTo>
                  <a:lnTo>
                    <a:pt x="1413" y="1270"/>
                  </a:lnTo>
                  <a:lnTo>
                    <a:pt x="1430" y="1265"/>
                  </a:lnTo>
                  <a:lnTo>
                    <a:pt x="1441" y="1254"/>
                  </a:lnTo>
                  <a:lnTo>
                    <a:pt x="1435" y="1237"/>
                  </a:lnTo>
                  <a:lnTo>
                    <a:pt x="1441" y="1226"/>
                  </a:lnTo>
                  <a:lnTo>
                    <a:pt x="1441" y="1221"/>
                  </a:lnTo>
                  <a:lnTo>
                    <a:pt x="1446" y="1215"/>
                  </a:lnTo>
                  <a:lnTo>
                    <a:pt x="1446" y="1210"/>
                  </a:lnTo>
                  <a:lnTo>
                    <a:pt x="1446" y="1204"/>
                  </a:lnTo>
                  <a:lnTo>
                    <a:pt x="1457" y="1204"/>
                  </a:lnTo>
                  <a:lnTo>
                    <a:pt x="1463" y="1193"/>
                  </a:lnTo>
                  <a:lnTo>
                    <a:pt x="1468" y="1177"/>
                  </a:lnTo>
                  <a:lnTo>
                    <a:pt x="1468" y="1182"/>
                  </a:lnTo>
                  <a:lnTo>
                    <a:pt x="1463" y="1177"/>
                  </a:lnTo>
                  <a:lnTo>
                    <a:pt x="1468" y="1177"/>
                  </a:lnTo>
                  <a:lnTo>
                    <a:pt x="1474" y="1177"/>
                  </a:lnTo>
                  <a:lnTo>
                    <a:pt x="1474" y="1171"/>
                  </a:lnTo>
                  <a:lnTo>
                    <a:pt x="1474" y="1160"/>
                  </a:lnTo>
                  <a:lnTo>
                    <a:pt x="1479" y="1160"/>
                  </a:lnTo>
                  <a:lnTo>
                    <a:pt x="1479" y="1155"/>
                  </a:lnTo>
                  <a:lnTo>
                    <a:pt x="1490" y="1149"/>
                  </a:lnTo>
                  <a:lnTo>
                    <a:pt x="1496" y="1138"/>
                  </a:lnTo>
                  <a:lnTo>
                    <a:pt x="1490" y="1106"/>
                  </a:lnTo>
                  <a:lnTo>
                    <a:pt x="1496" y="1100"/>
                  </a:lnTo>
                  <a:lnTo>
                    <a:pt x="1496" y="1095"/>
                  </a:lnTo>
                  <a:lnTo>
                    <a:pt x="1496" y="1084"/>
                  </a:lnTo>
                  <a:lnTo>
                    <a:pt x="1507" y="1073"/>
                  </a:lnTo>
                  <a:lnTo>
                    <a:pt x="1512" y="1067"/>
                  </a:lnTo>
                  <a:lnTo>
                    <a:pt x="1518" y="1056"/>
                  </a:lnTo>
                  <a:lnTo>
                    <a:pt x="1518" y="1045"/>
                  </a:lnTo>
                  <a:lnTo>
                    <a:pt x="1518" y="1029"/>
                  </a:lnTo>
                  <a:lnTo>
                    <a:pt x="1518" y="1023"/>
                  </a:lnTo>
                  <a:lnTo>
                    <a:pt x="1518" y="1018"/>
                  </a:lnTo>
                  <a:lnTo>
                    <a:pt x="1523" y="1001"/>
                  </a:lnTo>
                  <a:lnTo>
                    <a:pt x="1523" y="996"/>
                  </a:lnTo>
                  <a:lnTo>
                    <a:pt x="1529" y="990"/>
                  </a:lnTo>
                  <a:lnTo>
                    <a:pt x="1529" y="974"/>
                  </a:lnTo>
                  <a:lnTo>
                    <a:pt x="1529" y="968"/>
                  </a:lnTo>
                  <a:lnTo>
                    <a:pt x="1529" y="957"/>
                  </a:lnTo>
                  <a:lnTo>
                    <a:pt x="1523" y="924"/>
                  </a:lnTo>
                  <a:lnTo>
                    <a:pt x="1523" y="919"/>
                  </a:lnTo>
                  <a:lnTo>
                    <a:pt x="1529" y="902"/>
                  </a:lnTo>
                  <a:lnTo>
                    <a:pt x="1523" y="902"/>
                  </a:lnTo>
                  <a:lnTo>
                    <a:pt x="1529" y="891"/>
                  </a:lnTo>
                  <a:lnTo>
                    <a:pt x="1529" y="886"/>
                  </a:lnTo>
                  <a:lnTo>
                    <a:pt x="1529" y="891"/>
                  </a:lnTo>
                  <a:lnTo>
                    <a:pt x="1523" y="891"/>
                  </a:lnTo>
                  <a:lnTo>
                    <a:pt x="1523" y="897"/>
                  </a:lnTo>
                  <a:lnTo>
                    <a:pt x="1523" y="891"/>
                  </a:lnTo>
                  <a:lnTo>
                    <a:pt x="1529" y="891"/>
                  </a:lnTo>
                  <a:lnTo>
                    <a:pt x="1523" y="891"/>
                  </a:lnTo>
                  <a:lnTo>
                    <a:pt x="1529" y="886"/>
                  </a:lnTo>
                  <a:lnTo>
                    <a:pt x="1523" y="886"/>
                  </a:lnTo>
                  <a:lnTo>
                    <a:pt x="1523" y="880"/>
                  </a:lnTo>
                  <a:lnTo>
                    <a:pt x="1523" y="886"/>
                  </a:lnTo>
                  <a:lnTo>
                    <a:pt x="1529" y="880"/>
                  </a:lnTo>
                  <a:lnTo>
                    <a:pt x="1523" y="880"/>
                  </a:lnTo>
                  <a:lnTo>
                    <a:pt x="1518" y="875"/>
                  </a:lnTo>
                  <a:lnTo>
                    <a:pt x="1523" y="875"/>
                  </a:lnTo>
                  <a:lnTo>
                    <a:pt x="1529" y="880"/>
                  </a:lnTo>
                  <a:lnTo>
                    <a:pt x="1523" y="880"/>
                  </a:lnTo>
                  <a:lnTo>
                    <a:pt x="1529" y="875"/>
                  </a:lnTo>
                  <a:close/>
                  <a:moveTo>
                    <a:pt x="1023" y="259"/>
                  </a:moveTo>
                  <a:lnTo>
                    <a:pt x="1017" y="270"/>
                  </a:lnTo>
                  <a:lnTo>
                    <a:pt x="1006" y="275"/>
                  </a:lnTo>
                  <a:lnTo>
                    <a:pt x="1001" y="270"/>
                  </a:lnTo>
                  <a:lnTo>
                    <a:pt x="1006" y="259"/>
                  </a:lnTo>
                  <a:lnTo>
                    <a:pt x="1017" y="248"/>
                  </a:lnTo>
                  <a:lnTo>
                    <a:pt x="1023" y="248"/>
                  </a:lnTo>
                  <a:lnTo>
                    <a:pt x="1017" y="253"/>
                  </a:lnTo>
                  <a:lnTo>
                    <a:pt x="1023" y="259"/>
                  </a:lnTo>
                  <a:close/>
                  <a:moveTo>
                    <a:pt x="1116" y="275"/>
                  </a:moveTo>
                  <a:lnTo>
                    <a:pt x="1111" y="292"/>
                  </a:lnTo>
                  <a:lnTo>
                    <a:pt x="1094" y="314"/>
                  </a:lnTo>
                  <a:lnTo>
                    <a:pt x="1078" y="319"/>
                  </a:lnTo>
                  <a:lnTo>
                    <a:pt x="1056" y="325"/>
                  </a:lnTo>
                  <a:lnTo>
                    <a:pt x="1045" y="325"/>
                  </a:lnTo>
                  <a:lnTo>
                    <a:pt x="1028" y="319"/>
                  </a:lnTo>
                  <a:lnTo>
                    <a:pt x="1028" y="308"/>
                  </a:lnTo>
                  <a:lnTo>
                    <a:pt x="1023" y="286"/>
                  </a:lnTo>
                  <a:lnTo>
                    <a:pt x="1023" y="270"/>
                  </a:lnTo>
                  <a:lnTo>
                    <a:pt x="1034" y="259"/>
                  </a:lnTo>
                  <a:lnTo>
                    <a:pt x="1045" y="253"/>
                  </a:lnTo>
                  <a:lnTo>
                    <a:pt x="1056" y="253"/>
                  </a:lnTo>
                  <a:lnTo>
                    <a:pt x="1072" y="259"/>
                  </a:lnTo>
                  <a:lnTo>
                    <a:pt x="1089" y="253"/>
                  </a:lnTo>
                  <a:lnTo>
                    <a:pt x="1105" y="253"/>
                  </a:lnTo>
                  <a:lnTo>
                    <a:pt x="1111" y="259"/>
                  </a:lnTo>
                  <a:lnTo>
                    <a:pt x="1116" y="259"/>
                  </a:lnTo>
                  <a:lnTo>
                    <a:pt x="1116" y="275"/>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sp>
          <p:nvSpPr>
            <p:cNvPr id="220" name="Freeform 18">
              <a:extLst>
                <a:ext uri="{FF2B5EF4-FFF2-40B4-BE49-F238E27FC236}">
                  <a16:creationId xmlns:a16="http://schemas.microsoft.com/office/drawing/2014/main" id="{FA13FC75-C54B-4C58-AD34-8DB9E4E7BE2F}"/>
                </a:ext>
              </a:extLst>
            </p:cNvPr>
            <p:cNvSpPr>
              <a:spLocks noEditPoints="1"/>
            </p:cNvSpPr>
            <p:nvPr/>
          </p:nvSpPr>
          <p:spPr bwMode="auto">
            <a:xfrm rot="21367780">
              <a:off x="3264363" y="4106603"/>
              <a:ext cx="1520393" cy="2659191"/>
            </a:xfrm>
            <a:custGeom>
              <a:avLst/>
              <a:gdLst>
                <a:gd name="T0" fmla="*/ 517 w 869"/>
                <a:gd name="T1" fmla="*/ 61 h 1535"/>
                <a:gd name="T2" fmla="*/ 556 w 869"/>
                <a:gd name="T3" fmla="*/ 94 h 1535"/>
                <a:gd name="T4" fmla="*/ 666 w 869"/>
                <a:gd name="T5" fmla="*/ 143 h 1535"/>
                <a:gd name="T6" fmla="*/ 693 w 869"/>
                <a:gd name="T7" fmla="*/ 176 h 1535"/>
                <a:gd name="T8" fmla="*/ 671 w 869"/>
                <a:gd name="T9" fmla="*/ 220 h 1535"/>
                <a:gd name="T10" fmla="*/ 655 w 869"/>
                <a:gd name="T11" fmla="*/ 248 h 1535"/>
                <a:gd name="T12" fmla="*/ 743 w 869"/>
                <a:gd name="T13" fmla="*/ 259 h 1535"/>
                <a:gd name="T14" fmla="*/ 792 w 869"/>
                <a:gd name="T15" fmla="*/ 242 h 1535"/>
                <a:gd name="T16" fmla="*/ 831 w 869"/>
                <a:gd name="T17" fmla="*/ 187 h 1535"/>
                <a:gd name="T18" fmla="*/ 858 w 869"/>
                <a:gd name="T19" fmla="*/ 182 h 1535"/>
                <a:gd name="T20" fmla="*/ 836 w 869"/>
                <a:gd name="T21" fmla="*/ 259 h 1535"/>
                <a:gd name="T22" fmla="*/ 792 w 869"/>
                <a:gd name="T23" fmla="*/ 292 h 1535"/>
                <a:gd name="T24" fmla="*/ 715 w 869"/>
                <a:gd name="T25" fmla="*/ 369 h 1535"/>
                <a:gd name="T26" fmla="*/ 682 w 869"/>
                <a:gd name="T27" fmla="*/ 440 h 1535"/>
                <a:gd name="T28" fmla="*/ 660 w 869"/>
                <a:gd name="T29" fmla="*/ 523 h 1535"/>
                <a:gd name="T30" fmla="*/ 671 w 869"/>
                <a:gd name="T31" fmla="*/ 594 h 1535"/>
                <a:gd name="T32" fmla="*/ 737 w 869"/>
                <a:gd name="T33" fmla="*/ 671 h 1535"/>
                <a:gd name="T34" fmla="*/ 655 w 869"/>
                <a:gd name="T35" fmla="*/ 776 h 1535"/>
                <a:gd name="T36" fmla="*/ 490 w 869"/>
                <a:gd name="T37" fmla="*/ 792 h 1535"/>
                <a:gd name="T38" fmla="*/ 495 w 869"/>
                <a:gd name="T39" fmla="*/ 809 h 1535"/>
                <a:gd name="T40" fmla="*/ 490 w 869"/>
                <a:gd name="T41" fmla="*/ 869 h 1535"/>
                <a:gd name="T42" fmla="*/ 418 w 869"/>
                <a:gd name="T43" fmla="*/ 891 h 1535"/>
                <a:gd name="T44" fmla="*/ 369 w 869"/>
                <a:gd name="T45" fmla="*/ 891 h 1535"/>
                <a:gd name="T46" fmla="*/ 418 w 869"/>
                <a:gd name="T47" fmla="*/ 946 h 1535"/>
                <a:gd name="T48" fmla="*/ 407 w 869"/>
                <a:gd name="T49" fmla="*/ 957 h 1535"/>
                <a:gd name="T50" fmla="*/ 369 w 869"/>
                <a:gd name="T51" fmla="*/ 996 h 1535"/>
                <a:gd name="T52" fmla="*/ 363 w 869"/>
                <a:gd name="T53" fmla="*/ 1045 h 1535"/>
                <a:gd name="T54" fmla="*/ 347 w 869"/>
                <a:gd name="T55" fmla="*/ 1073 h 1535"/>
                <a:gd name="T56" fmla="*/ 275 w 869"/>
                <a:gd name="T57" fmla="*/ 1100 h 1535"/>
                <a:gd name="T58" fmla="*/ 325 w 869"/>
                <a:gd name="T59" fmla="*/ 1166 h 1535"/>
                <a:gd name="T60" fmla="*/ 341 w 869"/>
                <a:gd name="T61" fmla="*/ 1205 h 1535"/>
                <a:gd name="T62" fmla="*/ 281 w 869"/>
                <a:gd name="T63" fmla="*/ 1249 h 1535"/>
                <a:gd name="T64" fmla="*/ 226 w 869"/>
                <a:gd name="T65" fmla="*/ 1298 h 1535"/>
                <a:gd name="T66" fmla="*/ 198 w 869"/>
                <a:gd name="T67" fmla="*/ 1326 h 1535"/>
                <a:gd name="T68" fmla="*/ 209 w 869"/>
                <a:gd name="T69" fmla="*/ 1381 h 1535"/>
                <a:gd name="T70" fmla="*/ 55 w 869"/>
                <a:gd name="T71" fmla="*/ 1370 h 1535"/>
                <a:gd name="T72" fmla="*/ 22 w 869"/>
                <a:gd name="T73" fmla="*/ 1337 h 1535"/>
                <a:gd name="T74" fmla="*/ 22 w 869"/>
                <a:gd name="T75" fmla="*/ 1265 h 1535"/>
                <a:gd name="T76" fmla="*/ 55 w 869"/>
                <a:gd name="T77" fmla="*/ 1183 h 1535"/>
                <a:gd name="T78" fmla="*/ 88 w 869"/>
                <a:gd name="T79" fmla="*/ 1150 h 1535"/>
                <a:gd name="T80" fmla="*/ 94 w 869"/>
                <a:gd name="T81" fmla="*/ 1095 h 1535"/>
                <a:gd name="T82" fmla="*/ 99 w 869"/>
                <a:gd name="T83" fmla="*/ 1062 h 1535"/>
                <a:gd name="T84" fmla="*/ 88 w 869"/>
                <a:gd name="T85" fmla="*/ 1023 h 1535"/>
                <a:gd name="T86" fmla="*/ 72 w 869"/>
                <a:gd name="T87" fmla="*/ 985 h 1535"/>
                <a:gd name="T88" fmla="*/ 83 w 869"/>
                <a:gd name="T89" fmla="*/ 924 h 1535"/>
                <a:gd name="T90" fmla="*/ 88 w 869"/>
                <a:gd name="T91" fmla="*/ 853 h 1535"/>
                <a:gd name="T92" fmla="*/ 94 w 869"/>
                <a:gd name="T93" fmla="*/ 820 h 1535"/>
                <a:gd name="T94" fmla="*/ 116 w 869"/>
                <a:gd name="T95" fmla="*/ 759 h 1535"/>
                <a:gd name="T96" fmla="*/ 105 w 869"/>
                <a:gd name="T97" fmla="*/ 693 h 1535"/>
                <a:gd name="T98" fmla="*/ 138 w 869"/>
                <a:gd name="T99" fmla="*/ 660 h 1535"/>
                <a:gd name="T100" fmla="*/ 149 w 869"/>
                <a:gd name="T101" fmla="*/ 600 h 1535"/>
                <a:gd name="T102" fmla="*/ 165 w 869"/>
                <a:gd name="T103" fmla="*/ 545 h 1535"/>
                <a:gd name="T104" fmla="*/ 154 w 869"/>
                <a:gd name="T105" fmla="*/ 495 h 1535"/>
                <a:gd name="T106" fmla="*/ 132 w 869"/>
                <a:gd name="T107" fmla="*/ 440 h 1535"/>
                <a:gd name="T108" fmla="*/ 165 w 869"/>
                <a:gd name="T109" fmla="*/ 391 h 1535"/>
                <a:gd name="T110" fmla="*/ 171 w 869"/>
                <a:gd name="T111" fmla="*/ 319 h 1535"/>
                <a:gd name="T112" fmla="*/ 204 w 869"/>
                <a:gd name="T113" fmla="*/ 259 h 1535"/>
                <a:gd name="T114" fmla="*/ 220 w 869"/>
                <a:gd name="T115" fmla="*/ 176 h 1535"/>
                <a:gd name="T116" fmla="*/ 231 w 869"/>
                <a:gd name="T117" fmla="*/ 127 h 1535"/>
                <a:gd name="T118" fmla="*/ 325 w 869"/>
                <a:gd name="T119" fmla="*/ 0 h 1535"/>
                <a:gd name="T120" fmla="*/ 402 w 869"/>
                <a:gd name="T121" fmla="*/ 50 h 1535"/>
                <a:gd name="T122" fmla="*/ 479 w 869"/>
                <a:gd name="T123" fmla="*/ 22 h 153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69"/>
                <a:gd name="T187" fmla="*/ 0 h 1535"/>
                <a:gd name="T188" fmla="*/ 869 w 869"/>
                <a:gd name="T189" fmla="*/ 1535 h 153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69" h="1535">
                  <a:moveTo>
                    <a:pt x="479" y="22"/>
                  </a:moveTo>
                  <a:lnTo>
                    <a:pt x="479" y="22"/>
                  </a:lnTo>
                  <a:lnTo>
                    <a:pt x="484" y="22"/>
                  </a:lnTo>
                  <a:lnTo>
                    <a:pt x="484" y="28"/>
                  </a:lnTo>
                  <a:lnTo>
                    <a:pt x="490" y="28"/>
                  </a:lnTo>
                  <a:lnTo>
                    <a:pt x="495" y="33"/>
                  </a:lnTo>
                  <a:lnTo>
                    <a:pt x="495" y="39"/>
                  </a:lnTo>
                  <a:lnTo>
                    <a:pt x="501" y="39"/>
                  </a:lnTo>
                  <a:lnTo>
                    <a:pt x="501" y="44"/>
                  </a:lnTo>
                  <a:lnTo>
                    <a:pt x="506" y="50"/>
                  </a:lnTo>
                  <a:lnTo>
                    <a:pt x="506" y="55"/>
                  </a:lnTo>
                  <a:lnTo>
                    <a:pt x="512" y="61"/>
                  </a:lnTo>
                  <a:lnTo>
                    <a:pt x="517" y="61"/>
                  </a:lnTo>
                  <a:lnTo>
                    <a:pt x="517" y="66"/>
                  </a:lnTo>
                  <a:lnTo>
                    <a:pt x="523" y="66"/>
                  </a:lnTo>
                  <a:lnTo>
                    <a:pt x="523" y="72"/>
                  </a:lnTo>
                  <a:lnTo>
                    <a:pt x="528" y="72"/>
                  </a:lnTo>
                  <a:lnTo>
                    <a:pt x="528" y="77"/>
                  </a:lnTo>
                  <a:lnTo>
                    <a:pt x="534" y="77"/>
                  </a:lnTo>
                  <a:lnTo>
                    <a:pt x="539" y="77"/>
                  </a:lnTo>
                  <a:lnTo>
                    <a:pt x="539" y="83"/>
                  </a:lnTo>
                  <a:lnTo>
                    <a:pt x="545" y="83"/>
                  </a:lnTo>
                  <a:lnTo>
                    <a:pt x="545" y="88"/>
                  </a:lnTo>
                  <a:lnTo>
                    <a:pt x="550" y="88"/>
                  </a:lnTo>
                  <a:lnTo>
                    <a:pt x="550" y="94"/>
                  </a:lnTo>
                  <a:lnTo>
                    <a:pt x="556" y="94"/>
                  </a:lnTo>
                  <a:lnTo>
                    <a:pt x="561" y="94"/>
                  </a:lnTo>
                  <a:lnTo>
                    <a:pt x="567" y="99"/>
                  </a:lnTo>
                  <a:lnTo>
                    <a:pt x="567" y="94"/>
                  </a:lnTo>
                  <a:lnTo>
                    <a:pt x="567" y="99"/>
                  </a:lnTo>
                  <a:lnTo>
                    <a:pt x="572" y="99"/>
                  </a:lnTo>
                  <a:lnTo>
                    <a:pt x="578" y="99"/>
                  </a:lnTo>
                  <a:lnTo>
                    <a:pt x="583" y="105"/>
                  </a:lnTo>
                  <a:lnTo>
                    <a:pt x="589" y="105"/>
                  </a:lnTo>
                  <a:lnTo>
                    <a:pt x="594" y="105"/>
                  </a:lnTo>
                  <a:lnTo>
                    <a:pt x="616" y="116"/>
                  </a:lnTo>
                  <a:lnTo>
                    <a:pt x="622" y="121"/>
                  </a:lnTo>
                  <a:lnTo>
                    <a:pt x="627" y="127"/>
                  </a:lnTo>
                  <a:lnTo>
                    <a:pt x="633" y="127"/>
                  </a:lnTo>
                  <a:lnTo>
                    <a:pt x="638" y="132"/>
                  </a:lnTo>
                  <a:lnTo>
                    <a:pt x="644" y="138"/>
                  </a:lnTo>
                  <a:lnTo>
                    <a:pt x="649" y="138"/>
                  </a:lnTo>
                  <a:lnTo>
                    <a:pt x="655" y="138"/>
                  </a:lnTo>
                  <a:lnTo>
                    <a:pt x="660" y="138"/>
                  </a:lnTo>
                  <a:lnTo>
                    <a:pt x="666" y="143"/>
                  </a:lnTo>
                  <a:lnTo>
                    <a:pt x="666" y="149"/>
                  </a:lnTo>
                  <a:lnTo>
                    <a:pt x="671" y="149"/>
                  </a:lnTo>
                  <a:lnTo>
                    <a:pt x="671" y="143"/>
                  </a:lnTo>
                  <a:lnTo>
                    <a:pt x="677" y="149"/>
                  </a:lnTo>
                  <a:lnTo>
                    <a:pt x="682" y="149"/>
                  </a:lnTo>
                  <a:lnTo>
                    <a:pt x="688" y="149"/>
                  </a:lnTo>
                  <a:lnTo>
                    <a:pt x="688" y="154"/>
                  </a:lnTo>
                  <a:lnTo>
                    <a:pt x="693" y="154"/>
                  </a:lnTo>
                  <a:lnTo>
                    <a:pt x="693" y="160"/>
                  </a:lnTo>
                  <a:lnTo>
                    <a:pt x="699" y="165"/>
                  </a:lnTo>
                  <a:lnTo>
                    <a:pt x="699" y="176"/>
                  </a:lnTo>
                  <a:lnTo>
                    <a:pt x="693" y="176"/>
                  </a:lnTo>
                  <a:lnTo>
                    <a:pt x="693" y="182"/>
                  </a:lnTo>
                  <a:lnTo>
                    <a:pt x="688" y="182"/>
                  </a:lnTo>
                  <a:lnTo>
                    <a:pt x="688" y="187"/>
                  </a:lnTo>
                  <a:lnTo>
                    <a:pt x="688" y="193"/>
                  </a:lnTo>
                  <a:lnTo>
                    <a:pt x="682" y="198"/>
                  </a:lnTo>
                  <a:lnTo>
                    <a:pt x="677" y="198"/>
                  </a:lnTo>
                  <a:lnTo>
                    <a:pt x="677" y="204"/>
                  </a:lnTo>
                  <a:lnTo>
                    <a:pt x="677" y="209"/>
                  </a:lnTo>
                  <a:lnTo>
                    <a:pt x="671" y="215"/>
                  </a:lnTo>
                  <a:lnTo>
                    <a:pt x="671" y="220"/>
                  </a:lnTo>
                  <a:lnTo>
                    <a:pt x="677" y="220"/>
                  </a:lnTo>
                  <a:lnTo>
                    <a:pt x="671" y="220"/>
                  </a:lnTo>
                  <a:lnTo>
                    <a:pt x="671" y="226"/>
                  </a:lnTo>
                  <a:lnTo>
                    <a:pt x="671" y="231"/>
                  </a:lnTo>
                  <a:lnTo>
                    <a:pt x="666" y="231"/>
                  </a:lnTo>
                  <a:lnTo>
                    <a:pt x="666" y="237"/>
                  </a:lnTo>
                  <a:lnTo>
                    <a:pt x="660" y="237"/>
                  </a:lnTo>
                  <a:lnTo>
                    <a:pt x="660" y="242"/>
                  </a:lnTo>
                  <a:lnTo>
                    <a:pt x="655" y="248"/>
                  </a:lnTo>
                  <a:lnTo>
                    <a:pt x="655" y="253"/>
                  </a:lnTo>
                  <a:lnTo>
                    <a:pt x="660" y="253"/>
                  </a:lnTo>
                  <a:lnTo>
                    <a:pt x="666" y="253"/>
                  </a:lnTo>
                  <a:lnTo>
                    <a:pt x="671" y="253"/>
                  </a:lnTo>
                  <a:lnTo>
                    <a:pt x="677" y="253"/>
                  </a:lnTo>
                  <a:lnTo>
                    <a:pt x="682" y="253"/>
                  </a:lnTo>
                  <a:lnTo>
                    <a:pt x="693" y="253"/>
                  </a:lnTo>
                  <a:lnTo>
                    <a:pt x="699" y="259"/>
                  </a:lnTo>
                  <a:lnTo>
                    <a:pt x="704" y="259"/>
                  </a:lnTo>
                  <a:lnTo>
                    <a:pt x="710" y="259"/>
                  </a:lnTo>
                  <a:lnTo>
                    <a:pt x="715" y="259"/>
                  </a:lnTo>
                  <a:lnTo>
                    <a:pt x="721" y="264"/>
                  </a:lnTo>
                  <a:lnTo>
                    <a:pt x="726" y="259"/>
                  </a:lnTo>
                  <a:lnTo>
                    <a:pt x="732" y="259"/>
                  </a:lnTo>
                  <a:lnTo>
                    <a:pt x="732" y="264"/>
                  </a:lnTo>
                  <a:lnTo>
                    <a:pt x="737" y="264"/>
                  </a:lnTo>
                  <a:lnTo>
                    <a:pt x="737" y="259"/>
                  </a:lnTo>
                  <a:lnTo>
                    <a:pt x="743" y="259"/>
                  </a:lnTo>
                  <a:lnTo>
                    <a:pt x="748" y="259"/>
                  </a:lnTo>
                  <a:lnTo>
                    <a:pt x="748" y="264"/>
                  </a:lnTo>
                  <a:lnTo>
                    <a:pt x="754" y="264"/>
                  </a:lnTo>
                  <a:lnTo>
                    <a:pt x="759" y="259"/>
                  </a:lnTo>
                  <a:lnTo>
                    <a:pt x="759" y="253"/>
                  </a:lnTo>
                  <a:lnTo>
                    <a:pt x="765" y="253"/>
                  </a:lnTo>
                  <a:lnTo>
                    <a:pt x="770" y="253"/>
                  </a:lnTo>
                  <a:lnTo>
                    <a:pt x="776" y="253"/>
                  </a:lnTo>
                  <a:lnTo>
                    <a:pt x="776" y="259"/>
                  </a:lnTo>
                  <a:lnTo>
                    <a:pt x="781" y="259"/>
                  </a:lnTo>
                  <a:lnTo>
                    <a:pt x="787" y="259"/>
                  </a:lnTo>
                  <a:lnTo>
                    <a:pt x="787" y="253"/>
                  </a:lnTo>
                  <a:lnTo>
                    <a:pt x="787" y="248"/>
                  </a:lnTo>
                  <a:lnTo>
                    <a:pt x="787" y="242"/>
                  </a:lnTo>
                  <a:lnTo>
                    <a:pt x="792" y="242"/>
                  </a:lnTo>
                  <a:lnTo>
                    <a:pt x="792" y="237"/>
                  </a:lnTo>
                  <a:lnTo>
                    <a:pt x="798" y="237"/>
                  </a:lnTo>
                  <a:lnTo>
                    <a:pt x="803" y="237"/>
                  </a:lnTo>
                  <a:lnTo>
                    <a:pt x="809" y="237"/>
                  </a:lnTo>
                  <a:lnTo>
                    <a:pt x="809" y="231"/>
                  </a:lnTo>
                  <a:lnTo>
                    <a:pt x="814" y="231"/>
                  </a:lnTo>
                  <a:lnTo>
                    <a:pt x="814" y="226"/>
                  </a:lnTo>
                  <a:lnTo>
                    <a:pt x="820" y="226"/>
                  </a:lnTo>
                  <a:lnTo>
                    <a:pt x="820" y="220"/>
                  </a:lnTo>
                  <a:lnTo>
                    <a:pt x="825" y="215"/>
                  </a:lnTo>
                  <a:lnTo>
                    <a:pt x="825" y="209"/>
                  </a:lnTo>
                  <a:lnTo>
                    <a:pt x="825" y="204"/>
                  </a:lnTo>
                  <a:lnTo>
                    <a:pt x="825" y="198"/>
                  </a:lnTo>
                  <a:lnTo>
                    <a:pt x="825" y="193"/>
                  </a:lnTo>
                  <a:lnTo>
                    <a:pt x="831" y="193"/>
                  </a:lnTo>
                  <a:lnTo>
                    <a:pt x="831" y="187"/>
                  </a:lnTo>
                  <a:lnTo>
                    <a:pt x="831" y="182"/>
                  </a:lnTo>
                  <a:lnTo>
                    <a:pt x="825" y="176"/>
                  </a:lnTo>
                  <a:lnTo>
                    <a:pt x="831" y="176"/>
                  </a:lnTo>
                  <a:lnTo>
                    <a:pt x="836" y="176"/>
                  </a:lnTo>
                  <a:lnTo>
                    <a:pt x="842" y="176"/>
                  </a:lnTo>
                  <a:lnTo>
                    <a:pt x="842" y="171"/>
                  </a:lnTo>
                  <a:lnTo>
                    <a:pt x="842" y="176"/>
                  </a:lnTo>
                  <a:lnTo>
                    <a:pt x="847" y="176"/>
                  </a:lnTo>
                  <a:lnTo>
                    <a:pt x="847" y="171"/>
                  </a:lnTo>
                  <a:lnTo>
                    <a:pt x="853" y="171"/>
                  </a:lnTo>
                  <a:lnTo>
                    <a:pt x="853" y="176"/>
                  </a:lnTo>
                  <a:lnTo>
                    <a:pt x="853" y="171"/>
                  </a:lnTo>
                  <a:lnTo>
                    <a:pt x="858" y="176"/>
                  </a:lnTo>
                  <a:lnTo>
                    <a:pt x="864" y="176"/>
                  </a:lnTo>
                  <a:lnTo>
                    <a:pt x="858" y="182"/>
                  </a:lnTo>
                  <a:lnTo>
                    <a:pt x="864" y="182"/>
                  </a:lnTo>
                  <a:lnTo>
                    <a:pt x="864" y="193"/>
                  </a:lnTo>
                  <a:lnTo>
                    <a:pt x="869" y="193"/>
                  </a:lnTo>
                  <a:lnTo>
                    <a:pt x="869" y="198"/>
                  </a:lnTo>
                  <a:lnTo>
                    <a:pt x="869" y="204"/>
                  </a:lnTo>
                  <a:lnTo>
                    <a:pt x="869" y="209"/>
                  </a:lnTo>
                  <a:lnTo>
                    <a:pt x="869" y="226"/>
                  </a:lnTo>
                  <a:lnTo>
                    <a:pt x="864" y="226"/>
                  </a:lnTo>
                  <a:lnTo>
                    <a:pt x="869" y="226"/>
                  </a:lnTo>
                  <a:lnTo>
                    <a:pt x="869" y="237"/>
                  </a:lnTo>
                  <a:lnTo>
                    <a:pt x="864" y="248"/>
                  </a:lnTo>
                  <a:lnTo>
                    <a:pt x="858" y="248"/>
                  </a:lnTo>
                  <a:lnTo>
                    <a:pt x="853" y="248"/>
                  </a:lnTo>
                  <a:lnTo>
                    <a:pt x="853" y="253"/>
                  </a:lnTo>
                  <a:lnTo>
                    <a:pt x="847" y="253"/>
                  </a:lnTo>
                  <a:lnTo>
                    <a:pt x="847" y="259"/>
                  </a:lnTo>
                  <a:lnTo>
                    <a:pt x="842" y="259"/>
                  </a:lnTo>
                  <a:lnTo>
                    <a:pt x="836" y="259"/>
                  </a:lnTo>
                  <a:lnTo>
                    <a:pt x="831" y="264"/>
                  </a:lnTo>
                  <a:lnTo>
                    <a:pt x="831" y="259"/>
                  </a:lnTo>
                  <a:lnTo>
                    <a:pt x="831" y="264"/>
                  </a:lnTo>
                  <a:lnTo>
                    <a:pt x="825" y="264"/>
                  </a:lnTo>
                  <a:lnTo>
                    <a:pt x="820" y="264"/>
                  </a:lnTo>
                  <a:lnTo>
                    <a:pt x="820" y="270"/>
                  </a:lnTo>
                  <a:lnTo>
                    <a:pt x="814" y="270"/>
                  </a:lnTo>
                  <a:lnTo>
                    <a:pt x="814" y="275"/>
                  </a:lnTo>
                  <a:lnTo>
                    <a:pt x="809" y="275"/>
                  </a:lnTo>
                  <a:lnTo>
                    <a:pt x="809" y="281"/>
                  </a:lnTo>
                  <a:lnTo>
                    <a:pt x="803" y="281"/>
                  </a:lnTo>
                  <a:lnTo>
                    <a:pt x="798" y="281"/>
                  </a:lnTo>
                  <a:lnTo>
                    <a:pt x="798" y="286"/>
                  </a:lnTo>
                  <a:lnTo>
                    <a:pt x="792" y="292"/>
                  </a:lnTo>
                  <a:lnTo>
                    <a:pt x="787" y="292"/>
                  </a:lnTo>
                  <a:lnTo>
                    <a:pt x="781" y="297"/>
                  </a:lnTo>
                  <a:lnTo>
                    <a:pt x="781" y="303"/>
                  </a:lnTo>
                  <a:lnTo>
                    <a:pt x="776" y="303"/>
                  </a:lnTo>
                  <a:lnTo>
                    <a:pt x="776" y="308"/>
                  </a:lnTo>
                  <a:lnTo>
                    <a:pt x="770" y="308"/>
                  </a:lnTo>
                  <a:lnTo>
                    <a:pt x="770" y="314"/>
                  </a:lnTo>
                  <a:lnTo>
                    <a:pt x="765" y="319"/>
                  </a:lnTo>
                  <a:lnTo>
                    <a:pt x="759" y="319"/>
                  </a:lnTo>
                  <a:lnTo>
                    <a:pt x="754" y="325"/>
                  </a:lnTo>
                  <a:lnTo>
                    <a:pt x="754" y="330"/>
                  </a:lnTo>
                  <a:lnTo>
                    <a:pt x="748" y="330"/>
                  </a:lnTo>
                  <a:lnTo>
                    <a:pt x="748" y="336"/>
                  </a:lnTo>
                  <a:lnTo>
                    <a:pt x="737" y="341"/>
                  </a:lnTo>
                  <a:lnTo>
                    <a:pt x="737" y="347"/>
                  </a:lnTo>
                  <a:lnTo>
                    <a:pt x="737" y="352"/>
                  </a:lnTo>
                  <a:lnTo>
                    <a:pt x="721" y="369"/>
                  </a:lnTo>
                  <a:lnTo>
                    <a:pt x="715" y="369"/>
                  </a:lnTo>
                  <a:lnTo>
                    <a:pt x="710" y="380"/>
                  </a:lnTo>
                  <a:lnTo>
                    <a:pt x="704" y="385"/>
                  </a:lnTo>
                  <a:lnTo>
                    <a:pt x="699" y="385"/>
                  </a:lnTo>
                  <a:lnTo>
                    <a:pt x="699" y="391"/>
                  </a:lnTo>
                  <a:lnTo>
                    <a:pt x="693" y="396"/>
                  </a:lnTo>
                  <a:lnTo>
                    <a:pt x="688" y="402"/>
                  </a:lnTo>
                  <a:lnTo>
                    <a:pt x="688" y="407"/>
                  </a:lnTo>
                  <a:lnTo>
                    <a:pt x="688" y="413"/>
                  </a:lnTo>
                  <a:lnTo>
                    <a:pt x="688" y="418"/>
                  </a:lnTo>
                  <a:lnTo>
                    <a:pt x="682" y="424"/>
                  </a:lnTo>
                  <a:lnTo>
                    <a:pt x="688" y="424"/>
                  </a:lnTo>
                  <a:lnTo>
                    <a:pt x="688" y="429"/>
                  </a:lnTo>
                  <a:lnTo>
                    <a:pt x="682" y="429"/>
                  </a:lnTo>
                  <a:lnTo>
                    <a:pt x="688" y="435"/>
                  </a:lnTo>
                  <a:lnTo>
                    <a:pt x="682" y="435"/>
                  </a:lnTo>
                  <a:lnTo>
                    <a:pt x="682" y="440"/>
                  </a:lnTo>
                  <a:lnTo>
                    <a:pt x="677" y="446"/>
                  </a:lnTo>
                  <a:lnTo>
                    <a:pt x="682" y="451"/>
                  </a:lnTo>
                  <a:lnTo>
                    <a:pt x="682" y="462"/>
                  </a:lnTo>
                  <a:lnTo>
                    <a:pt x="677" y="462"/>
                  </a:lnTo>
                  <a:lnTo>
                    <a:pt x="671" y="462"/>
                  </a:lnTo>
                  <a:lnTo>
                    <a:pt x="677" y="468"/>
                  </a:lnTo>
                  <a:lnTo>
                    <a:pt x="677" y="473"/>
                  </a:lnTo>
                  <a:lnTo>
                    <a:pt x="671" y="479"/>
                  </a:lnTo>
                  <a:lnTo>
                    <a:pt x="677" y="484"/>
                  </a:lnTo>
                  <a:lnTo>
                    <a:pt x="671" y="490"/>
                  </a:lnTo>
                  <a:lnTo>
                    <a:pt x="671" y="495"/>
                  </a:lnTo>
                  <a:lnTo>
                    <a:pt x="671" y="506"/>
                  </a:lnTo>
                  <a:lnTo>
                    <a:pt x="677" y="512"/>
                  </a:lnTo>
                  <a:lnTo>
                    <a:pt x="677" y="517"/>
                  </a:lnTo>
                  <a:lnTo>
                    <a:pt x="671" y="523"/>
                  </a:lnTo>
                  <a:lnTo>
                    <a:pt x="666" y="523"/>
                  </a:lnTo>
                  <a:lnTo>
                    <a:pt x="660" y="523"/>
                  </a:lnTo>
                  <a:lnTo>
                    <a:pt x="666" y="523"/>
                  </a:lnTo>
                  <a:lnTo>
                    <a:pt x="660" y="528"/>
                  </a:lnTo>
                  <a:lnTo>
                    <a:pt x="666" y="528"/>
                  </a:lnTo>
                  <a:lnTo>
                    <a:pt x="660" y="534"/>
                  </a:lnTo>
                  <a:lnTo>
                    <a:pt x="660" y="539"/>
                  </a:lnTo>
                  <a:lnTo>
                    <a:pt x="660" y="550"/>
                  </a:lnTo>
                  <a:lnTo>
                    <a:pt x="660" y="556"/>
                  </a:lnTo>
                  <a:lnTo>
                    <a:pt x="660" y="561"/>
                  </a:lnTo>
                  <a:lnTo>
                    <a:pt x="660" y="567"/>
                  </a:lnTo>
                  <a:lnTo>
                    <a:pt x="666" y="567"/>
                  </a:lnTo>
                  <a:lnTo>
                    <a:pt x="666" y="572"/>
                  </a:lnTo>
                  <a:lnTo>
                    <a:pt x="660" y="572"/>
                  </a:lnTo>
                  <a:lnTo>
                    <a:pt x="655" y="578"/>
                  </a:lnTo>
                  <a:lnTo>
                    <a:pt x="660" y="578"/>
                  </a:lnTo>
                  <a:lnTo>
                    <a:pt x="660" y="583"/>
                  </a:lnTo>
                  <a:lnTo>
                    <a:pt x="660" y="589"/>
                  </a:lnTo>
                  <a:lnTo>
                    <a:pt x="666" y="589"/>
                  </a:lnTo>
                  <a:lnTo>
                    <a:pt x="666" y="594"/>
                  </a:lnTo>
                  <a:lnTo>
                    <a:pt x="671" y="594"/>
                  </a:lnTo>
                  <a:lnTo>
                    <a:pt x="682" y="600"/>
                  </a:lnTo>
                  <a:lnTo>
                    <a:pt x="688" y="605"/>
                  </a:lnTo>
                  <a:lnTo>
                    <a:pt x="699" y="611"/>
                  </a:lnTo>
                  <a:lnTo>
                    <a:pt x="704" y="611"/>
                  </a:lnTo>
                  <a:lnTo>
                    <a:pt x="710" y="616"/>
                  </a:lnTo>
                  <a:lnTo>
                    <a:pt x="715" y="622"/>
                  </a:lnTo>
                  <a:lnTo>
                    <a:pt x="721" y="627"/>
                  </a:lnTo>
                  <a:lnTo>
                    <a:pt x="721" y="633"/>
                  </a:lnTo>
                  <a:lnTo>
                    <a:pt x="715" y="638"/>
                  </a:lnTo>
                  <a:lnTo>
                    <a:pt x="710" y="644"/>
                  </a:lnTo>
                  <a:lnTo>
                    <a:pt x="710" y="649"/>
                  </a:lnTo>
                  <a:lnTo>
                    <a:pt x="710" y="655"/>
                  </a:lnTo>
                  <a:lnTo>
                    <a:pt x="710" y="660"/>
                  </a:lnTo>
                  <a:lnTo>
                    <a:pt x="715" y="660"/>
                  </a:lnTo>
                  <a:lnTo>
                    <a:pt x="715" y="666"/>
                  </a:lnTo>
                  <a:lnTo>
                    <a:pt x="721" y="671"/>
                  </a:lnTo>
                  <a:lnTo>
                    <a:pt x="726" y="671"/>
                  </a:lnTo>
                  <a:lnTo>
                    <a:pt x="732" y="671"/>
                  </a:lnTo>
                  <a:lnTo>
                    <a:pt x="737" y="671"/>
                  </a:lnTo>
                  <a:lnTo>
                    <a:pt x="732" y="671"/>
                  </a:lnTo>
                  <a:lnTo>
                    <a:pt x="737" y="671"/>
                  </a:lnTo>
                  <a:lnTo>
                    <a:pt x="737" y="677"/>
                  </a:lnTo>
                  <a:lnTo>
                    <a:pt x="737" y="682"/>
                  </a:lnTo>
                  <a:lnTo>
                    <a:pt x="737" y="699"/>
                  </a:lnTo>
                  <a:lnTo>
                    <a:pt x="737" y="704"/>
                  </a:lnTo>
                  <a:lnTo>
                    <a:pt x="726" y="715"/>
                  </a:lnTo>
                  <a:lnTo>
                    <a:pt x="721" y="721"/>
                  </a:lnTo>
                  <a:lnTo>
                    <a:pt x="715" y="726"/>
                  </a:lnTo>
                  <a:lnTo>
                    <a:pt x="710" y="732"/>
                  </a:lnTo>
                  <a:lnTo>
                    <a:pt x="704" y="737"/>
                  </a:lnTo>
                  <a:lnTo>
                    <a:pt x="699" y="748"/>
                  </a:lnTo>
                  <a:lnTo>
                    <a:pt x="699" y="754"/>
                  </a:lnTo>
                  <a:lnTo>
                    <a:pt x="693" y="759"/>
                  </a:lnTo>
                  <a:lnTo>
                    <a:pt x="688" y="759"/>
                  </a:lnTo>
                  <a:lnTo>
                    <a:pt x="682" y="759"/>
                  </a:lnTo>
                  <a:lnTo>
                    <a:pt x="677" y="765"/>
                  </a:lnTo>
                  <a:lnTo>
                    <a:pt x="666" y="770"/>
                  </a:lnTo>
                  <a:lnTo>
                    <a:pt x="660" y="770"/>
                  </a:lnTo>
                  <a:lnTo>
                    <a:pt x="655" y="776"/>
                  </a:lnTo>
                  <a:lnTo>
                    <a:pt x="649" y="776"/>
                  </a:lnTo>
                  <a:lnTo>
                    <a:pt x="638" y="781"/>
                  </a:lnTo>
                  <a:lnTo>
                    <a:pt x="611" y="781"/>
                  </a:lnTo>
                  <a:lnTo>
                    <a:pt x="605" y="787"/>
                  </a:lnTo>
                  <a:lnTo>
                    <a:pt x="589" y="787"/>
                  </a:lnTo>
                  <a:lnTo>
                    <a:pt x="561" y="792"/>
                  </a:lnTo>
                  <a:lnTo>
                    <a:pt x="550" y="792"/>
                  </a:lnTo>
                  <a:lnTo>
                    <a:pt x="545" y="792"/>
                  </a:lnTo>
                  <a:lnTo>
                    <a:pt x="534" y="792"/>
                  </a:lnTo>
                  <a:lnTo>
                    <a:pt x="528" y="792"/>
                  </a:lnTo>
                  <a:lnTo>
                    <a:pt x="523" y="792"/>
                  </a:lnTo>
                  <a:lnTo>
                    <a:pt x="517" y="792"/>
                  </a:lnTo>
                  <a:lnTo>
                    <a:pt x="506" y="792"/>
                  </a:lnTo>
                  <a:lnTo>
                    <a:pt x="501" y="792"/>
                  </a:lnTo>
                  <a:lnTo>
                    <a:pt x="501" y="787"/>
                  </a:lnTo>
                  <a:lnTo>
                    <a:pt x="490" y="787"/>
                  </a:lnTo>
                  <a:lnTo>
                    <a:pt x="490" y="792"/>
                  </a:lnTo>
                  <a:lnTo>
                    <a:pt x="495" y="792"/>
                  </a:lnTo>
                  <a:lnTo>
                    <a:pt x="490" y="792"/>
                  </a:lnTo>
                  <a:lnTo>
                    <a:pt x="495" y="798"/>
                  </a:lnTo>
                  <a:lnTo>
                    <a:pt x="490" y="798"/>
                  </a:lnTo>
                  <a:lnTo>
                    <a:pt x="490" y="803"/>
                  </a:lnTo>
                  <a:lnTo>
                    <a:pt x="495" y="803"/>
                  </a:lnTo>
                  <a:lnTo>
                    <a:pt x="490" y="803"/>
                  </a:lnTo>
                  <a:lnTo>
                    <a:pt x="501" y="809"/>
                  </a:lnTo>
                  <a:lnTo>
                    <a:pt x="506" y="809"/>
                  </a:lnTo>
                  <a:lnTo>
                    <a:pt x="506" y="814"/>
                  </a:lnTo>
                  <a:lnTo>
                    <a:pt x="501" y="809"/>
                  </a:lnTo>
                  <a:lnTo>
                    <a:pt x="495" y="809"/>
                  </a:lnTo>
                  <a:lnTo>
                    <a:pt x="501" y="814"/>
                  </a:lnTo>
                  <a:lnTo>
                    <a:pt x="506" y="814"/>
                  </a:lnTo>
                  <a:lnTo>
                    <a:pt x="501" y="820"/>
                  </a:lnTo>
                  <a:lnTo>
                    <a:pt x="501" y="831"/>
                  </a:lnTo>
                  <a:lnTo>
                    <a:pt x="501" y="836"/>
                  </a:lnTo>
                  <a:lnTo>
                    <a:pt x="495" y="831"/>
                  </a:lnTo>
                  <a:lnTo>
                    <a:pt x="495" y="836"/>
                  </a:lnTo>
                  <a:lnTo>
                    <a:pt x="490" y="842"/>
                  </a:lnTo>
                  <a:lnTo>
                    <a:pt x="490" y="847"/>
                  </a:lnTo>
                  <a:lnTo>
                    <a:pt x="490" y="853"/>
                  </a:lnTo>
                  <a:lnTo>
                    <a:pt x="484" y="853"/>
                  </a:lnTo>
                  <a:lnTo>
                    <a:pt x="490" y="858"/>
                  </a:lnTo>
                  <a:lnTo>
                    <a:pt x="490" y="864"/>
                  </a:lnTo>
                  <a:lnTo>
                    <a:pt x="495" y="864"/>
                  </a:lnTo>
                  <a:lnTo>
                    <a:pt x="495" y="869"/>
                  </a:lnTo>
                  <a:lnTo>
                    <a:pt x="490" y="869"/>
                  </a:lnTo>
                  <a:lnTo>
                    <a:pt x="495" y="869"/>
                  </a:lnTo>
                  <a:lnTo>
                    <a:pt x="490" y="869"/>
                  </a:lnTo>
                  <a:lnTo>
                    <a:pt x="495" y="869"/>
                  </a:lnTo>
                  <a:lnTo>
                    <a:pt x="501" y="869"/>
                  </a:lnTo>
                  <a:lnTo>
                    <a:pt x="495" y="869"/>
                  </a:lnTo>
                  <a:lnTo>
                    <a:pt x="495" y="875"/>
                  </a:lnTo>
                  <a:lnTo>
                    <a:pt x="495" y="880"/>
                  </a:lnTo>
                  <a:lnTo>
                    <a:pt x="490" y="880"/>
                  </a:lnTo>
                  <a:lnTo>
                    <a:pt x="484" y="886"/>
                  </a:lnTo>
                  <a:lnTo>
                    <a:pt x="479" y="886"/>
                  </a:lnTo>
                  <a:lnTo>
                    <a:pt x="473" y="886"/>
                  </a:lnTo>
                  <a:lnTo>
                    <a:pt x="468" y="891"/>
                  </a:lnTo>
                  <a:lnTo>
                    <a:pt x="462" y="891"/>
                  </a:lnTo>
                  <a:lnTo>
                    <a:pt x="451" y="891"/>
                  </a:lnTo>
                  <a:lnTo>
                    <a:pt x="446" y="891"/>
                  </a:lnTo>
                  <a:lnTo>
                    <a:pt x="429" y="891"/>
                  </a:lnTo>
                  <a:lnTo>
                    <a:pt x="424" y="891"/>
                  </a:lnTo>
                  <a:lnTo>
                    <a:pt x="418" y="891"/>
                  </a:lnTo>
                  <a:lnTo>
                    <a:pt x="418" y="886"/>
                  </a:lnTo>
                  <a:lnTo>
                    <a:pt x="413" y="886"/>
                  </a:lnTo>
                  <a:lnTo>
                    <a:pt x="402" y="880"/>
                  </a:lnTo>
                  <a:lnTo>
                    <a:pt x="391" y="880"/>
                  </a:lnTo>
                  <a:lnTo>
                    <a:pt x="385" y="880"/>
                  </a:lnTo>
                  <a:lnTo>
                    <a:pt x="380" y="880"/>
                  </a:lnTo>
                  <a:lnTo>
                    <a:pt x="380" y="875"/>
                  </a:lnTo>
                  <a:lnTo>
                    <a:pt x="385" y="875"/>
                  </a:lnTo>
                  <a:lnTo>
                    <a:pt x="380" y="875"/>
                  </a:lnTo>
                  <a:lnTo>
                    <a:pt x="374" y="875"/>
                  </a:lnTo>
                  <a:lnTo>
                    <a:pt x="369" y="880"/>
                  </a:lnTo>
                  <a:lnTo>
                    <a:pt x="369" y="886"/>
                  </a:lnTo>
                  <a:lnTo>
                    <a:pt x="369" y="891"/>
                  </a:lnTo>
                  <a:lnTo>
                    <a:pt x="374" y="908"/>
                  </a:lnTo>
                  <a:lnTo>
                    <a:pt x="380" y="908"/>
                  </a:lnTo>
                  <a:lnTo>
                    <a:pt x="374" y="919"/>
                  </a:lnTo>
                  <a:lnTo>
                    <a:pt x="380" y="924"/>
                  </a:lnTo>
                  <a:lnTo>
                    <a:pt x="374" y="930"/>
                  </a:lnTo>
                  <a:lnTo>
                    <a:pt x="374" y="935"/>
                  </a:lnTo>
                  <a:lnTo>
                    <a:pt x="380" y="941"/>
                  </a:lnTo>
                  <a:lnTo>
                    <a:pt x="385" y="941"/>
                  </a:lnTo>
                  <a:lnTo>
                    <a:pt x="391" y="941"/>
                  </a:lnTo>
                  <a:lnTo>
                    <a:pt x="396" y="941"/>
                  </a:lnTo>
                  <a:lnTo>
                    <a:pt x="402" y="946"/>
                  </a:lnTo>
                  <a:lnTo>
                    <a:pt x="396" y="946"/>
                  </a:lnTo>
                  <a:lnTo>
                    <a:pt x="396" y="952"/>
                  </a:lnTo>
                  <a:lnTo>
                    <a:pt x="402" y="952"/>
                  </a:lnTo>
                  <a:lnTo>
                    <a:pt x="407" y="952"/>
                  </a:lnTo>
                  <a:lnTo>
                    <a:pt x="413" y="952"/>
                  </a:lnTo>
                  <a:lnTo>
                    <a:pt x="418" y="952"/>
                  </a:lnTo>
                  <a:lnTo>
                    <a:pt x="418" y="946"/>
                  </a:lnTo>
                  <a:lnTo>
                    <a:pt x="413" y="946"/>
                  </a:lnTo>
                  <a:lnTo>
                    <a:pt x="407" y="946"/>
                  </a:lnTo>
                  <a:lnTo>
                    <a:pt x="407" y="941"/>
                  </a:lnTo>
                  <a:lnTo>
                    <a:pt x="413" y="941"/>
                  </a:lnTo>
                  <a:lnTo>
                    <a:pt x="418" y="941"/>
                  </a:lnTo>
                  <a:lnTo>
                    <a:pt x="424" y="935"/>
                  </a:lnTo>
                  <a:lnTo>
                    <a:pt x="429" y="935"/>
                  </a:lnTo>
                  <a:lnTo>
                    <a:pt x="440" y="946"/>
                  </a:lnTo>
                  <a:lnTo>
                    <a:pt x="440" y="963"/>
                  </a:lnTo>
                  <a:lnTo>
                    <a:pt x="435" y="963"/>
                  </a:lnTo>
                  <a:lnTo>
                    <a:pt x="435" y="968"/>
                  </a:lnTo>
                  <a:lnTo>
                    <a:pt x="424" y="974"/>
                  </a:lnTo>
                  <a:lnTo>
                    <a:pt x="418" y="974"/>
                  </a:lnTo>
                  <a:lnTo>
                    <a:pt x="413" y="974"/>
                  </a:lnTo>
                  <a:lnTo>
                    <a:pt x="413" y="968"/>
                  </a:lnTo>
                  <a:lnTo>
                    <a:pt x="407" y="968"/>
                  </a:lnTo>
                  <a:lnTo>
                    <a:pt x="413" y="963"/>
                  </a:lnTo>
                  <a:lnTo>
                    <a:pt x="407" y="963"/>
                  </a:lnTo>
                  <a:lnTo>
                    <a:pt x="407" y="957"/>
                  </a:lnTo>
                  <a:lnTo>
                    <a:pt x="402" y="952"/>
                  </a:lnTo>
                  <a:lnTo>
                    <a:pt x="391" y="957"/>
                  </a:lnTo>
                  <a:lnTo>
                    <a:pt x="385" y="957"/>
                  </a:lnTo>
                  <a:lnTo>
                    <a:pt x="385" y="963"/>
                  </a:lnTo>
                  <a:lnTo>
                    <a:pt x="380" y="963"/>
                  </a:lnTo>
                  <a:lnTo>
                    <a:pt x="374" y="968"/>
                  </a:lnTo>
                  <a:lnTo>
                    <a:pt x="385" y="968"/>
                  </a:lnTo>
                  <a:lnTo>
                    <a:pt x="396" y="974"/>
                  </a:lnTo>
                  <a:lnTo>
                    <a:pt x="402" y="974"/>
                  </a:lnTo>
                  <a:lnTo>
                    <a:pt x="402" y="979"/>
                  </a:lnTo>
                  <a:lnTo>
                    <a:pt x="407" y="974"/>
                  </a:lnTo>
                  <a:lnTo>
                    <a:pt x="407" y="979"/>
                  </a:lnTo>
                  <a:lnTo>
                    <a:pt x="396" y="985"/>
                  </a:lnTo>
                  <a:lnTo>
                    <a:pt x="385" y="985"/>
                  </a:lnTo>
                  <a:lnTo>
                    <a:pt x="380" y="990"/>
                  </a:lnTo>
                  <a:lnTo>
                    <a:pt x="374" y="990"/>
                  </a:lnTo>
                  <a:lnTo>
                    <a:pt x="374" y="996"/>
                  </a:lnTo>
                  <a:lnTo>
                    <a:pt x="369" y="996"/>
                  </a:lnTo>
                  <a:lnTo>
                    <a:pt x="369" y="1001"/>
                  </a:lnTo>
                  <a:lnTo>
                    <a:pt x="363" y="1007"/>
                  </a:lnTo>
                  <a:lnTo>
                    <a:pt x="363" y="1012"/>
                  </a:lnTo>
                  <a:lnTo>
                    <a:pt x="363" y="1018"/>
                  </a:lnTo>
                  <a:lnTo>
                    <a:pt x="363" y="1023"/>
                  </a:lnTo>
                  <a:lnTo>
                    <a:pt x="369" y="1023"/>
                  </a:lnTo>
                  <a:lnTo>
                    <a:pt x="369" y="1029"/>
                  </a:lnTo>
                  <a:lnTo>
                    <a:pt x="363" y="1029"/>
                  </a:lnTo>
                  <a:lnTo>
                    <a:pt x="363" y="1034"/>
                  </a:lnTo>
                  <a:lnTo>
                    <a:pt x="363" y="1040"/>
                  </a:lnTo>
                  <a:lnTo>
                    <a:pt x="369" y="1040"/>
                  </a:lnTo>
                  <a:lnTo>
                    <a:pt x="363" y="1045"/>
                  </a:lnTo>
                  <a:lnTo>
                    <a:pt x="358" y="1045"/>
                  </a:lnTo>
                  <a:lnTo>
                    <a:pt x="358" y="1051"/>
                  </a:lnTo>
                  <a:lnTo>
                    <a:pt x="352" y="1051"/>
                  </a:lnTo>
                  <a:lnTo>
                    <a:pt x="347" y="1051"/>
                  </a:lnTo>
                  <a:lnTo>
                    <a:pt x="347" y="1056"/>
                  </a:lnTo>
                  <a:lnTo>
                    <a:pt x="347" y="1062"/>
                  </a:lnTo>
                  <a:lnTo>
                    <a:pt x="352" y="1067"/>
                  </a:lnTo>
                  <a:lnTo>
                    <a:pt x="347" y="1067"/>
                  </a:lnTo>
                  <a:lnTo>
                    <a:pt x="352" y="1073"/>
                  </a:lnTo>
                  <a:lnTo>
                    <a:pt x="347" y="1073"/>
                  </a:lnTo>
                  <a:lnTo>
                    <a:pt x="341" y="1073"/>
                  </a:lnTo>
                  <a:lnTo>
                    <a:pt x="341" y="1067"/>
                  </a:lnTo>
                  <a:lnTo>
                    <a:pt x="336" y="1073"/>
                  </a:lnTo>
                  <a:lnTo>
                    <a:pt x="341" y="1073"/>
                  </a:lnTo>
                  <a:lnTo>
                    <a:pt x="336" y="1073"/>
                  </a:lnTo>
                  <a:lnTo>
                    <a:pt x="330" y="1067"/>
                  </a:lnTo>
                  <a:lnTo>
                    <a:pt x="325" y="1067"/>
                  </a:lnTo>
                  <a:lnTo>
                    <a:pt x="319" y="1073"/>
                  </a:lnTo>
                  <a:lnTo>
                    <a:pt x="308" y="1073"/>
                  </a:lnTo>
                  <a:lnTo>
                    <a:pt x="314" y="1078"/>
                  </a:lnTo>
                  <a:lnTo>
                    <a:pt x="308" y="1078"/>
                  </a:lnTo>
                  <a:lnTo>
                    <a:pt x="303" y="1078"/>
                  </a:lnTo>
                  <a:lnTo>
                    <a:pt x="297" y="1084"/>
                  </a:lnTo>
                  <a:lnTo>
                    <a:pt x="292" y="1084"/>
                  </a:lnTo>
                  <a:lnTo>
                    <a:pt x="281" y="1095"/>
                  </a:lnTo>
                  <a:lnTo>
                    <a:pt x="275" y="1100"/>
                  </a:lnTo>
                  <a:lnTo>
                    <a:pt x="275" y="1106"/>
                  </a:lnTo>
                  <a:lnTo>
                    <a:pt x="270" y="1106"/>
                  </a:lnTo>
                  <a:lnTo>
                    <a:pt x="264" y="1111"/>
                  </a:lnTo>
                  <a:lnTo>
                    <a:pt x="264" y="1117"/>
                  </a:lnTo>
                  <a:lnTo>
                    <a:pt x="264" y="1122"/>
                  </a:lnTo>
                  <a:lnTo>
                    <a:pt x="264" y="1133"/>
                  </a:lnTo>
                  <a:lnTo>
                    <a:pt x="264" y="1139"/>
                  </a:lnTo>
                  <a:lnTo>
                    <a:pt x="275" y="1144"/>
                  </a:lnTo>
                  <a:lnTo>
                    <a:pt x="281" y="1144"/>
                  </a:lnTo>
                  <a:lnTo>
                    <a:pt x="281" y="1150"/>
                  </a:lnTo>
                  <a:lnTo>
                    <a:pt x="286" y="1150"/>
                  </a:lnTo>
                  <a:lnTo>
                    <a:pt x="286" y="1155"/>
                  </a:lnTo>
                  <a:lnTo>
                    <a:pt x="292" y="1155"/>
                  </a:lnTo>
                  <a:lnTo>
                    <a:pt x="297" y="1161"/>
                  </a:lnTo>
                  <a:lnTo>
                    <a:pt x="303" y="1166"/>
                  </a:lnTo>
                  <a:lnTo>
                    <a:pt x="308" y="1166"/>
                  </a:lnTo>
                  <a:lnTo>
                    <a:pt x="319" y="1166"/>
                  </a:lnTo>
                  <a:lnTo>
                    <a:pt x="325" y="1166"/>
                  </a:lnTo>
                  <a:lnTo>
                    <a:pt x="330" y="1166"/>
                  </a:lnTo>
                  <a:lnTo>
                    <a:pt x="336" y="1166"/>
                  </a:lnTo>
                  <a:lnTo>
                    <a:pt x="341" y="1166"/>
                  </a:lnTo>
                  <a:lnTo>
                    <a:pt x="341" y="1172"/>
                  </a:lnTo>
                  <a:lnTo>
                    <a:pt x="341" y="1177"/>
                  </a:lnTo>
                  <a:lnTo>
                    <a:pt x="347" y="1177"/>
                  </a:lnTo>
                  <a:lnTo>
                    <a:pt x="347" y="1183"/>
                  </a:lnTo>
                  <a:lnTo>
                    <a:pt x="341" y="1188"/>
                  </a:lnTo>
                  <a:lnTo>
                    <a:pt x="336" y="1199"/>
                  </a:lnTo>
                  <a:lnTo>
                    <a:pt x="330" y="1199"/>
                  </a:lnTo>
                  <a:lnTo>
                    <a:pt x="325" y="1199"/>
                  </a:lnTo>
                  <a:lnTo>
                    <a:pt x="319" y="1205"/>
                  </a:lnTo>
                  <a:lnTo>
                    <a:pt x="314" y="1205"/>
                  </a:lnTo>
                  <a:lnTo>
                    <a:pt x="319" y="1205"/>
                  </a:lnTo>
                  <a:lnTo>
                    <a:pt x="330" y="1199"/>
                  </a:lnTo>
                  <a:lnTo>
                    <a:pt x="336" y="1199"/>
                  </a:lnTo>
                  <a:lnTo>
                    <a:pt x="341" y="1205"/>
                  </a:lnTo>
                  <a:lnTo>
                    <a:pt x="336" y="1205"/>
                  </a:lnTo>
                  <a:lnTo>
                    <a:pt x="336" y="1210"/>
                  </a:lnTo>
                  <a:lnTo>
                    <a:pt x="336" y="1216"/>
                  </a:lnTo>
                  <a:lnTo>
                    <a:pt x="330" y="1216"/>
                  </a:lnTo>
                  <a:lnTo>
                    <a:pt x="325" y="1216"/>
                  </a:lnTo>
                  <a:lnTo>
                    <a:pt x="319" y="1221"/>
                  </a:lnTo>
                  <a:lnTo>
                    <a:pt x="319" y="1227"/>
                  </a:lnTo>
                  <a:lnTo>
                    <a:pt x="314" y="1227"/>
                  </a:lnTo>
                  <a:lnTo>
                    <a:pt x="308" y="1227"/>
                  </a:lnTo>
                  <a:lnTo>
                    <a:pt x="303" y="1232"/>
                  </a:lnTo>
                  <a:lnTo>
                    <a:pt x="297" y="1232"/>
                  </a:lnTo>
                  <a:lnTo>
                    <a:pt x="292" y="1238"/>
                  </a:lnTo>
                  <a:lnTo>
                    <a:pt x="286" y="1238"/>
                  </a:lnTo>
                  <a:lnTo>
                    <a:pt x="281" y="1238"/>
                  </a:lnTo>
                  <a:lnTo>
                    <a:pt x="281" y="1249"/>
                  </a:lnTo>
                  <a:lnTo>
                    <a:pt x="275" y="1249"/>
                  </a:lnTo>
                  <a:lnTo>
                    <a:pt x="270" y="1249"/>
                  </a:lnTo>
                  <a:lnTo>
                    <a:pt x="270" y="1254"/>
                  </a:lnTo>
                  <a:lnTo>
                    <a:pt x="264" y="1260"/>
                  </a:lnTo>
                  <a:lnTo>
                    <a:pt x="259" y="1260"/>
                  </a:lnTo>
                  <a:lnTo>
                    <a:pt x="264" y="1265"/>
                  </a:lnTo>
                  <a:lnTo>
                    <a:pt x="259" y="1271"/>
                  </a:lnTo>
                  <a:lnTo>
                    <a:pt x="253" y="1271"/>
                  </a:lnTo>
                  <a:lnTo>
                    <a:pt x="253" y="1276"/>
                  </a:lnTo>
                  <a:lnTo>
                    <a:pt x="259" y="1271"/>
                  </a:lnTo>
                  <a:lnTo>
                    <a:pt x="259" y="1265"/>
                  </a:lnTo>
                  <a:lnTo>
                    <a:pt x="264" y="1265"/>
                  </a:lnTo>
                  <a:lnTo>
                    <a:pt x="259" y="1282"/>
                  </a:lnTo>
                  <a:lnTo>
                    <a:pt x="259" y="1293"/>
                  </a:lnTo>
                  <a:lnTo>
                    <a:pt x="253" y="1298"/>
                  </a:lnTo>
                  <a:lnTo>
                    <a:pt x="242" y="1304"/>
                  </a:lnTo>
                  <a:lnTo>
                    <a:pt x="237" y="1309"/>
                  </a:lnTo>
                  <a:lnTo>
                    <a:pt x="231" y="1309"/>
                  </a:lnTo>
                  <a:lnTo>
                    <a:pt x="226" y="1304"/>
                  </a:lnTo>
                  <a:lnTo>
                    <a:pt x="226" y="1298"/>
                  </a:lnTo>
                  <a:lnTo>
                    <a:pt x="220" y="1298"/>
                  </a:lnTo>
                  <a:lnTo>
                    <a:pt x="220" y="1293"/>
                  </a:lnTo>
                  <a:lnTo>
                    <a:pt x="215" y="1293"/>
                  </a:lnTo>
                  <a:lnTo>
                    <a:pt x="215" y="1287"/>
                  </a:lnTo>
                  <a:lnTo>
                    <a:pt x="215" y="1293"/>
                  </a:lnTo>
                  <a:lnTo>
                    <a:pt x="220" y="1298"/>
                  </a:lnTo>
                  <a:lnTo>
                    <a:pt x="215" y="1298"/>
                  </a:lnTo>
                  <a:lnTo>
                    <a:pt x="209" y="1298"/>
                  </a:lnTo>
                  <a:lnTo>
                    <a:pt x="204" y="1298"/>
                  </a:lnTo>
                  <a:lnTo>
                    <a:pt x="198" y="1304"/>
                  </a:lnTo>
                  <a:lnTo>
                    <a:pt x="204" y="1298"/>
                  </a:lnTo>
                  <a:lnTo>
                    <a:pt x="209" y="1298"/>
                  </a:lnTo>
                  <a:lnTo>
                    <a:pt x="215" y="1298"/>
                  </a:lnTo>
                  <a:lnTo>
                    <a:pt x="220" y="1298"/>
                  </a:lnTo>
                  <a:lnTo>
                    <a:pt x="226" y="1304"/>
                  </a:lnTo>
                  <a:lnTo>
                    <a:pt x="231" y="1309"/>
                  </a:lnTo>
                  <a:lnTo>
                    <a:pt x="226" y="1309"/>
                  </a:lnTo>
                  <a:lnTo>
                    <a:pt x="209" y="1315"/>
                  </a:lnTo>
                  <a:lnTo>
                    <a:pt x="204" y="1320"/>
                  </a:lnTo>
                  <a:lnTo>
                    <a:pt x="198" y="1326"/>
                  </a:lnTo>
                  <a:lnTo>
                    <a:pt x="198" y="1337"/>
                  </a:lnTo>
                  <a:lnTo>
                    <a:pt x="198" y="1342"/>
                  </a:lnTo>
                  <a:lnTo>
                    <a:pt x="182" y="1353"/>
                  </a:lnTo>
                  <a:lnTo>
                    <a:pt x="187" y="1348"/>
                  </a:lnTo>
                  <a:lnTo>
                    <a:pt x="193" y="1348"/>
                  </a:lnTo>
                  <a:lnTo>
                    <a:pt x="198" y="1348"/>
                  </a:lnTo>
                  <a:lnTo>
                    <a:pt x="198" y="1353"/>
                  </a:lnTo>
                  <a:lnTo>
                    <a:pt x="204" y="1370"/>
                  </a:lnTo>
                  <a:lnTo>
                    <a:pt x="204" y="1375"/>
                  </a:lnTo>
                  <a:lnTo>
                    <a:pt x="198" y="1375"/>
                  </a:lnTo>
                  <a:lnTo>
                    <a:pt x="187" y="1375"/>
                  </a:lnTo>
                  <a:lnTo>
                    <a:pt x="182" y="1375"/>
                  </a:lnTo>
                  <a:lnTo>
                    <a:pt x="176" y="1375"/>
                  </a:lnTo>
                  <a:lnTo>
                    <a:pt x="182" y="1375"/>
                  </a:lnTo>
                  <a:lnTo>
                    <a:pt x="187" y="1375"/>
                  </a:lnTo>
                  <a:lnTo>
                    <a:pt x="193" y="1375"/>
                  </a:lnTo>
                  <a:lnTo>
                    <a:pt x="193" y="1381"/>
                  </a:lnTo>
                  <a:lnTo>
                    <a:pt x="198" y="1375"/>
                  </a:lnTo>
                  <a:lnTo>
                    <a:pt x="204" y="1375"/>
                  </a:lnTo>
                  <a:lnTo>
                    <a:pt x="209" y="1381"/>
                  </a:lnTo>
                  <a:lnTo>
                    <a:pt x="209" y="1386"/>
                  </a:lnTo>
                  <a:lnTo>
                    <a:pt x="215" y="1392"/>
                  </a:lnTo>
                  <a:lnTo>
                    <a:pt x="226" y="1403"/>
                  </a:lnTo>
                  <a:lnTo>
                    <a:pt x="226" y="1408"/>
                  </a:lnTo>
                  <a:lnTo>
                    <a:pt x="231" y="1408"/>
                  </a:lnTo>
                  <a:lnTo>
                    <a:pt x="226" y="1414"/>
                  </a:lnTo>
                  <a:lnTo>
                    <a:pt x="226" y="1408"/>
                  </a:lnTo>
                  <a:lnTo>
                    <a:pt x="209" y="1408"/>
                  </a:lnTo>
                  <a:lnTo>
                    <a:pt x="204" y="1403"/>
                  </a:lnTo>
                  <a:lnTo>
                    <a:pt x="193" y="1403"/>
                  </a:lnTo>
                  <a:lnTo>
                    <a:pt x="182" y="1403"/>
                  </a:lnTo>
                  <a:lnTo>
                    <a:pt x="160" y="1392"/>
                  </a:lnTo>
                  <a:lnTo>
                    <a:pt x="77" y="1392"/>
                  </a:lnTo>
                  <a:lnTo>
                    <a:pt x="72" y="1392"/>
                  </a:lnTo>
                  <a:lnTo>
                    <a:pt x="72" y="1386"/>
                  </a:lnTo>
                  <a:lnTo>
                    <a:pt x="66" y="1381"/>
                  </a:lnTo>
                  <a:lnTo>
                    <a:pt x="61" y="1381"/>
                  </a:lnTo>
                  <a:lnTo>
                    <a:pt x="55" y="1375"/>
                  </a:lnTo>
                  <a:lnTo>
                    <a:pt x="55" y="1370"/>
                  </a:lnTo>
                  <a:lnTo>
                    <a:pt x="55" y="1364"/>
                  </a:lnTo>
                  <a:lnTo>
                    <a:pt x="55" y="1359"/>
                  </a:lnTo>
                  <a:lnTo>
                    <a:pt x="61" y="1359"/>
                  </a:lnTo>
                  <a:lnTo>
                    <a:pt x="55" y="1353"/>
                  </a:lnTo>
                  <a:lnTo>
                    <a:pt x="55" y="1348"/>
                  </a:lnTo>
                  <a:lnTo>
                    <a:pt x="61" y="1348"/>
                  </a:lnTo>
                  <a:lnTo>
                    <a:pt x="61" y="1342"/>
                  </a:lnTo>
                  <a:lnTo>
                    <a:pt x="55" y="1337"/>
                  </a:lnTo>
                  <a:lnTo>
                    <a:pt x="61" y="1331"/>
                  </a:lnTo>
                  <a:lnTo>
                    <a:pt x="55" y="1331"/>
                  </a:lnTo>
                  <a:lnTo>
                    <a:pt x="50" y="1331"/>
                  </a:lnTo>
                  <a:lnTo>
                    <a:pt x="44" y="1331"/>
                  </a:lnTo>
                  <a:lnTo>
                    <a:pt x="39" y="1331"/>
                  </a:lnTo>
                  <a:lnTo>
                    <a:pt x="33" y="1331"/>
                  </a:lnTo>
                  <a:lnTo>
                    <a:pt x="28" y="1337"/>
                  </a:lnTo>
                  <a:lnTo>
                    <a:pt x="22" y="1337"/>
                  </a:lnTo>
                  <a:lnTo>
                    <a:pt x="22" y="1331"/>
                  </a:lnTo>
                  <a:lnTo>
                    <a:pt x="17" y="1326"/>
                  </a:lnTo>
                  <a:lnTo>
                    <a:pt x="17" y="1315"/>
                  </a:lnTo>
                  <a:lnTo>
                    <a:pt x="11" y="1315"/>
                  </a:lnTo>
                  <a:lnTo>
                    <a:pt x="6" y="1309"/>
                  </a:lnTo>
                  <a:lnTo>
                    <a:pt x="6" y="1304"/>
                  </a:lnTo>
                  <a:lnTo>
                    <a:pt x="6" y="1298"/>
                  </a:lnTo>
                  <a:lnTo>
                    <a:pt x="0" y="1298"/>
                  </a:lnTo>
                  <a:lnTo>
                    <a:pt x="6" y="1298"/>
                  </a:lnTo>
                  <a:lnTo>
                    <a:pt x="6" y="1293"/>
                  </a:lnTo>
                  <a:lnTo>
                    <a:pt x="6" y="1287"/>
                  </a:lnTo>
                  <a:lnTo>
                    <a:pt x="6" y="1282"/>
                  </a:lnTo>
                  <a:lnTo>
                    <a:pt x="0" y="1282"/>
                  </a:lnTo>
                  <a:lnTo>
                    <a:pt x="6" y="1276"/>
                  </a:lnTo>
                  <a:lnTo>
                    <a:pt x="6" y="1271"/>
                  </a:lnTo>
                  <a:lnTo>
                    <a:pt x="22" y="1271"/>
                  </a:lnTo>
                  <a:lnTo>
                    <a:pt x="22" y="1265"/>
                  </a:lnTo>
                  <a:lnTo>
                    <a:pt x="22" y="1260"/>
                  </a:lnTo>
                  <a:lnTo>
                    <a:pt x="28" y="1254"/>
                  </a:lnTo>
                  <a:lnTo>
                    <a:pt x="33" y="1254"/>
                  </a:lnTo>
                  <a:lnTo>
                    <a:pt x="39" y="1254"/>
                  </a:lnTo>
                  <a:lnTo>
                    <a:pt x="44" y="1243"/>
                  </a:lnTo>
                  <a:lnTo>
                    <a:pt x="50" y="1243"/>
                  </a:lnTo>
                  <a:lnTo>
                    <a:pt x="44" y="1232"/>
                  </a:lnTo>
                  <a:lnTo>
                    <a:pt x="55" y="1227"/>
                  </a:lnTo>
                  <a:lnTo>
                    <a:pt x="61" y="1227"/>
                  </a:lnTo>
                  <a:lnTo>
                    <a:pt x="55" y="1221"/>
                  </a:lnTo>
                  <a:lnTo>
                    <a:pt x="61" y="1216"/>
                  </a:lnTo>
                  <a:lnTo>
                    <a:pt x="55" y="1210"/>
                  </a:lnTo>
                  <a:lnTo>
                    <a:pt x="50" y="1210"/>
                  </a:lnTo>
                  <a:lnTo>
                    <a:pt x="50" y="1205"/>
                  </a:lnTo>
                  <a:lnTo>
                    <a:pt x="50" y="1199"/>
                  </a:lnTo>
                  <a:lnTo>
                    <a:pt x="55" y="1188"/>
                  </a:lnTo>
                  <a:lnTo>
                    <a:pt x="61" y="1188"/>
                  </a:lnTo>
                  <a:lnTo>
                    <a:pt x="55" y="1183"/>
                  </a:lnTo>
                  <a:lnTo>
                    <a:pt x="61" y="1183"/>
                  </a:lnTo>
                  <a:lnTo>
                    <a:pt x="66" y="1183"/>
                  </a:lnTo>
                  <a:lnTo>
                    <a:pt x="66" y="1177"/>
                  </a:lnTo>
                  <a:lnTo>
                    <a:pt x="72" y="1177"/>
                  </a:lnTo>
                  <a:lnTo>
                    <a:pt x="72" y="1172"/>
                  </a:lnTo>
                  <a:lnTo>
                    <a:pt x="77" y="1172"/>
                  </a:lnTo>
                  <a:lnTo>
                    <a:pt x="77" y="1166"/>
                  </a:lnTo>
                  <a:lnTo>
                    <a:pt x="72" y="1166"/>
                  </a:lnTo>
                  <a:lnTo>
                    <a:pt x="77" y="1161"/>
                  </a:lnTo>
                  <a:lnTo>
                    <a:pt x="72" y="1161"/>
                  </a:lnTo>
                  <a:lnTo>
                    <a:pt x="77" y="1155"/>
                  </a:lnTo>
                  <a:lnTo>
                    <a:pt x="72" y="1155"/>
                  </a:lnTo>
                  <a:lnTo>
                    <a:pt x="77" y="1155"/>
                  </a:lnTo>
                  <a:lnTo>
                    <a:pt x="83" y="1150"/>
                  </a:lnTo>
                  <a:lnTo>
                    <a:pt x="88" y="1150"/>
                  </a:lnTo>
                  <a:lnTo>
                    <a:pt x="83" y="1144"/>
                  </a:lnTo>
                  <a:lnTo>
                    <a:pt x="88" y="1139"/>
                  </a:lnTo>
                  <a:lnTo>
                    <a:pt x="83" y="1133"/>
                  </a:lnTo>
                  <a:lnTo>
                    <a:pt x="83" y="1128"/>
                  </a:lnTo>
                  <a:lnTo>
                    <a:pt x="77" y="1128"/>
                  </a:lnTo>
                  <a:lnTo>
                    <a:pt x="77" y="1122"/>
                  </a:lnTo>
                  <a:lnTo>
                    <a:pt x="83" y="1122"/>
                  </a:lnTo>
                  <a:lnTo>
                    <a:pt x="88" y="1117"/>
                  </a:lnTo>
                  <a:lnTo>
                    <a:pt x="88" y="1111"/>
                  </a:lnTo>
                  <a:lnTo>
                    <a:pt x="83" y="1111"/>
                  </a:lnTo>
                  <a:lnTo>
                    <a:pt x="83" y="1106"/>
                  </a:lnTo>
                  <a:lnTo>
                    <a:pt x="83" y="1100"/>
                  </a:lnTo>
                  <a:lnTo>
                    <a:pt x="83" y="1095"/>
                  </a:lnTo>
                  <a:lnTo>
                    <a:pt x="94" y="1095"/>
                  </a:lnTo>
                  <a:lnTo>
                    <a:pt x="94" y="1089"/>
                  </a:lnTo>
                  <a:lnTo>
                    <a:pt x="99" y="1089"/>
                  </a:lnTo>
                  <a:lnTo>
                    <a:pt x="99" y="1084"/>
                  </a:lnTo>
                  <a:lnTo>
                    <a:pt x="99" y="1078"/>
                  </a:lnTo>
                  <a:lnTo>
                    <a:pt x="94" y="1078"/>
                  </a:lnTo>
                  <a:lnTo>
                    <a:pt x="88" y="1067"/>
                  </a:lnTo>
                  <a:lnTo>
                    <a:pt x="83" y="1067"/>
                  </a:lnTo>
                  <a:lnTo>
                    <a:pt x="77" y="1067"/>
                  </a:lnTo>
                  <a:lnTo>
                    <a:pt x="72" y="1067"/>
                  </a:lnTo>
                  <a:lnTo>
                    <a:pt x="66" y="1067"/>
                  </a:lnTo>
                  <a:lnTo>
                    <a:pt x="66" y="1062"/>
                  </a:lnTo>
                  <a:lnTo>
                    <a:pt x="72" y="1056"/>
                  </a:lnTo>
                  <a:lnTo>
                    <a:pt x="72" y="1062"/>
                  </a:lnTo>
                  <a:lnTo>
                    <a:pt x="77" y="1062"/>
                  </a:lnTo>
                  <a:lnTo>
                    <a:pt x="83" y="1056"/>
                  </a:lnTo>
                  <a:lnTo>
                    <a:pt x="88" y="1062"/>
                  </a:lnTo>
                  <a:lnTo>
                    <a:pt x="94" y="1056"/>
                  </a:lnTo>
                  <a:lnTo>
                    <a:pt x="99" y="1062"/>
                  </a:lnTo>
                  <a:lnTo>
                    <a:pt x="105" y="1062"/>
                  </a:lnTo>
                  <a:lnTo>
                    <a:pt x="105" y="1056"/>
                  </a:lnTo>
                  <a:lnTo>
                    <a:pt x="105" y="1051"/>
                  </a:lnTo>
                  <a:lnTo>
                    <a:pt x="110" y="1051"/>
                  </a:lnTo>
                  <a:lnTo>
                    <a:pt x="110" y="1045"/>
                  </a:lnTo>
                  <a:lnTo>
                    <a:pt x="105" y="1045"/>
                  </a:lnTo>
                  <a:lnTo>
                    <a:pt x="99" y="1045"/>
                  </a:lnTo>
                  <a:lnTo>
                    <a:pt x="94" y="1045"/>
                  </a:lnTo>
                  <a:lnTo>
                    <a:pt x="88" y="1045"/>
                  </a:lnTo>
                  <a:lnTo>
                    <a:pt x="83" y="1040"/>
                  </a:lnTo>
                  <a:lnTo>
                    <a:pt x="83" y="1045"/>
                  </a:lnTo>
                  <a:lnTo>
                    <a:pt x="77" y="1045"/>
                  </a:lnTo>
                  <a:lnTo>
                    <a:pt x="77" y="1040"/>
                  </a:lnTo>
                  <a:lnTo>
                    <a:pt x="77" y="1034"/>
                  </a:lnTo>
                  <a:lnTo>
                    <a:pt x="77" y="1029"/>
                  </a:lnTo>
                  <a:lnTo>
                    <a:pt x="83" y="1029"/>
                  </a:lnTo>
                  <a:lnTo>
                    <a:pt x="88" y="1023"/>
                  </a:lnTo>
                  <a:lnTo>
                    <a:pt x="83" y="1018"/>
                  </a:lnTo>
                  <a:lnTo>
                    <a:pt x="83" y="1012"/>
                  </a:lnTo>
                  <a:lnTo>
                    <a:pt x="77" y="1012"/>
                  </a:lnTo>
                  <a:lnTo>
                    <a:pt x="83" y="1007"/>
                  </a:lnTo>
                  <a:lnTo>
                    <a:pt x="83" y="1001"/>
                  </a:lnTo>
                  <a:lnTo>
                    <a:pt x="77" y="1001"/>
                  </a:lnTo>
                  <a:lnTo>
                    <a:pt x="72" y="996"/>
                  </a:lnTo>
                  <a:lnTo>
                    <a:pt x="77" y="996"/>
                  </a:lnTo>
                  <a:lnTo>
                    <a:pt x="72" y="996"/>
                  </a:lnTo>
                  <a:lnTo>
                    <a:pt x="77" y="996"/>
                  </a:lnTo>
                  <a:lnTo>
                    <a:pt x="77" y="990"/>
                  </a:lnTo>
                  <a:lnTo>
                    <a:pt x="83" y="990"/>
                  </a:lnTo>
                  <a:lnTo>
                    <a:pt x="83" y="985"/>
                  </a:lnTo>
                  <a:lnTo>
                    <a:pt x="77" y="985"/>
                  </a:lnTo>
                  <a:lnTo>
                    <a:pt x="72" y="985"/>
                  </a:lnTo>
                  <a:lnTo>
                    <a:pt x="66" y="979"/>
                  </a:lnTo>
                  <a:lnTo>
                    <a:pt x="66" y="968"/>
                  </a:lnTo>
                  <a:lnTo>
                    <a:pt x="66" y="963"/>
                  </a:lnTo>
                  <a:lnTo>
                    <a:pt x="66" y="957"/>
                  </a:lnTo>
                  <a:lnTo>
                    <a:pt x="72" y="952"/>
                  </a:lnTo>
                  <a:lnTo>
                    <a:pt x="66" y="952"/>
                  </a:lnTo>
                  <a:lnTo>
                    <a:pt x="72" y="946"/>
                  </a:lnTo>
                  <a:lnTo>
                    <a:pt x="66" y="946"/>
                  </a:lnTo>
                  <a:lnTo>
                    <a:pt x="66" y="941"/>
                  </a:lnTo>
                  <a:lnTo>
                    <a:pt x="72" y="941"/>
                  </a:lnTo>
                  <a:lnTo>
                    <a:pt x="77" y="941"/>
                  </a:lnTo>
                  <a:lnTo>
                    <a:pt x="83" y="941"/>
                  </a:lnTo>
                  <a:lnTo>
                    <a:pt x="83" y="935"/>
                  </a:lnTo>
                  <a:lnTo>
                    <a:pt x="83" y="930"/>
                  </a:lnTo>
                  <a:lnTo>
                    <a:pt x="83" y="924"/>
                  </a:lnTo>
                  <a:lnTo>
                    <a:pt x="77" y="924"/>
                  </a:lnTo>
                  <a:lnTo>
                    <a:pt x="77" y="919"/>
                  </a:lnTo>
                  <a:lnTo>
                    <a:pt x="77" y="913"/>
                  </a:lnTo>
                  <a:lnTo>
                    <a:pt x="77" y="908"/>
                  </a:lnTo>
                  <a:lnTo>
                    <a:pt x="77" y="902"/>
                  </a:lnTo>
                  <a:lnTo>
                    <a:pt x="77" y="897"/>
                  </a:lnTo>
                  <a:lnTo>
                    <a:pt x="77" y="891"/>
                  </a:lnTo>
                  <a:lnTo>
                    <a:pt x="77" y="886"/>
                  </a:lnTo>
                  <a:lnTo>
                    <a:pt x="77" y="880"/>
                  </a:lnTo>
                  <a:lnTo>
                    <a:pt x="72" y="875"/>
                  </a:lnTo>
                  <a:lnTo>
                    <a:pt x="77" y="869"/>
                  </a:lnTo>
                  <a:lnTo>
                    <a:pt x="77" y="864"/>
                  </a:lnTo>
                  <a:lnTo>
                    <a:pt x="83" y="858"/>
                  </a:lnTo>
                  <a:lnTo>
                    <a:pt x="88" y="853"/>
                  </a:lnTo>
                  <a:lnTo>
                    <a:pt x="83" y="853"/>
                  </a:lnTo>
                  <a:lnTo>
                    <a:pt x="77" y="847"/>
                  </a:lnTo>
                  <a:lnTo>
                    <a:pt x="83" y="847"/>
                  </a:lnTo>
                  <a:lnTo>
                    <a:pt x="77" y="842"/>
                  </a:lnTo>
                  <a:lnTo>
                    <a:pt x="83" y="842"/>
                  </a:lnTo>
                  <a:lnTo>
                    <a:pt x="88" y="842"/>
                  </a:lnTo>
                  <a:lnTo>
                    <a:pt x="88" y="836"/>
                  </a:lnTo>
                  <a:lnTo>
                    <a:pt x="88" y="831"/>
                  </a:lnTo>
                  <a:lnTo>
                    <a:pt x="83" y="825"/>
                  </a:lnTo>
                  <a:lnTo>
                    <a:pt x="83" y="820"/>
                  </a:lnTo>
                  <a:lnTo>
                    <a:pt x="88" y="820"/>
                  </a:lnTo>
                  <a:lnTo>
                    <a:pt x="94" y="820"/>
                  </a:lnTo>
                  <a:lnTo>
                    <a:pt x="94" y="814"/>
                  </a:lnTo>
                  <a:lnTo>
                    <a:pt x="94" y="809"/>
                  </a:lnTo>
                  <a:lnTo>
                    <a:pt x="99" y="809"/>
                  </a:lnTo>
                  <a:lnTo>
                    <a:pt x="99" y="803"/>
                  </a:lnTo>
                  <a:lnTo>
                    <a:pt x="94" y="798"/>
                  </a:lnTo>
                  <a:lnTo>
                    <a:pt x="99" y="792"/>
                  </a:lnTo>
                  <a:lnTo>
                    <a:pt x="105" y="787"/>
                  </a:lnTo>
                  <a:lnTo>
                    <a:pt x="110" y="787"/>
                  </a:lnTo>
                  <a:lnTo>
                    <a:pt x="110" y="781"/>
                  </a:lnTo>
                  <a:lnTo>
                    <a:pt x="116" y="781"/>
                  </a:lnTo>
                  <a:lnTo>
                    <a:pt x="121" y="781"/>
                  </a:lnTo>
                  <a:lnTo>
                    <a:pt x="121" y="776"/>
                  </a:lnTo>
                  <a:lnTo>
                    <a:pt x="121" y="770"/>
                  </a:lnTo>
                  <a:lnTo>
                    <a:pt x="116" y="765"/>
                  </a:lnTo>
                  <a:lnTo>
                    <a:pt x="116" y="759"/>
                  </a:lnTo>
                  <a:lnTo>
                    <a:pt x="116" y="754"/>
                  </a:lnTo>
                  <a:lnTo>
                    <a:pt x="116" y="748"/>
                  </a:lnTo>
                  <a:lnTo>
                    <a:pt x="105" y="732"/>
                  </a:lnTo>
                  <a:lnTo>
                    <a:pt x="110" y="732"/>
                  </a:lnTo>
                  <a:lnTo>
                    <a:pt x="110" y="726"/>
                  </a:lnTo>
                  <a:lnTo>
                    <a:pt x="110" y="721"/>
                  </a:lnTo>
                  <a:lnTo>
                    <a:pt x="105" y="715"/>
                  </a:lnTo>
                  <a:lnTo>
                    <a:pt x="110" y="710"/>
                  </a:lnTo>
                  <a:lnTo>
                    <a:pt x="110" y="704"/>
                  </a:lnTo>
                  <a:lnTo>
                    <a:pt x="110" y="699"/>
                  </a:lnTo>
                  <a:lnTo>
                    <a:pt x="105" y="699"/>
                  </a:lnTo>
                  <a:lnTo>
                    <a:pt x="110" y="699"/>
                  </a:lnTo>
                  <a:lnTo>
                    <a:pt x="105" y="693"/>
                  </a:lnTo>
                  <a:lnTo>
                    <a:pt x="110" y="688"/>
                  </a:lnTo>
                  <a:lnTo>
                    <a:pt x="110" y="682"/>
                  </a:lnTo>
                  <a:lnTo>
                    <a:pt x="116" y="677"/>
                  </a:lnTo>
                  <a:lnTo>
                    <a:pt x="121" y="677"/>
                  </a:lnTo>
                  <a:lnTo>
                    <a:pt x="121" y="671"/>
                  </a:lnTo>
                  <a:lnTo>
                    <a:pt x="121" y="677"/>
                  </a:lnTo>
                  <a:lnTo>
                    <a:pt x="127" y="677"/>
                  </a:lnTo>
                  <a:lnTo>
                    <a:pt x="127" y="671"/>
                  </a:lnTo>
                  <a:lnTo>
                    <a:pt x="127" y="666"/>
                  </a:lnTo>
                  <a:lnTo>
                    <a:pt x="132" y="666"/>
                  </a:lnTo>
                  <a:lnTo>
                    <a:pt x="132" y="660"/>
                  </a:lnTo>
                  <a:lnTo>
                    <a:pt x="138" y="660"/>
                  </a:lnTo>
                  <a:lnTo>
                    <a:pt x="143" y="660"/>
                  </a:lnTo>
                  <a:lnTo>
                    <a:pt x="138" y="655"/>
                  </a:lnTo>
                  <a:lnTo>
                    <a:pt x="143" y="649"/>
                  </a:lnTo>
                  <a:lnTo>
                    <a:pt x="138" y="649"/>
                  </a:lnTo>
                  <a:lnTo>
                    <a:pt x="143" y="649"/>
                  </a:lnTo>
                  <a:lnTo>
                    <a:pt x="138" y="638"/>
                  </a:lnTo>
                  <a:lnTo>
                    <a:pt x="143" y="638"/>
                  </a:lnTo>
                  <a:lnTo>
                    <a:pt x="143" y="633"/>
                  </a:lnTo>
                  <a:lnTo>
                    <a:pt x="138" y="633"/>
                  </a:lnTo>
                  <a:lnTo>
                    <a:pt x="138" y="627"/>
                  </a:lnTo>
                  <a:lnTo>
                    <a:pt x="138" y="622"/>
                  </a:lnTo>
                  <a:lnTo>
                    <a:pt x="132" y="622"/>
                  </a:lnTo>
                  <a:lnTo>
                    <a:pt x="138" y="616"/>
                  </a:lnTo>
                  <a:lnTo>
                    <a:pt x="143" y="616"/>
                  </a:lnTo>
                  <a:lnTo>
                    <a:pt x="143" y="605"/>
                  </a:lnTo>
                  <a:lnTo>
                    <a:pt x="149" y="600"/>
                  </a:lnTo>
                  <a:lnTo>
                    <a:pt x="143" y="594"/>
                  </a:lnTo>
                  <a:lnTo>
                    <a:pt x="149" y="594"/>
                  </a:lnTo>
                  <a:lnTo>
                    <a:pt x="149" y="589"/>
                  </a:lnTo>
                  <a:lnTo>
                    <a:pt x="154" y="589"/>
                  </a:lnTo>
                  <a:lnTo>
                    <a:pt x="154" y="583"/>
                  </a:lnTo>
                  <a:lnTo>
                    <a:pt x="154" y="578"/>
                  </a:lnTo>
                  <a:lnTo>
                    <a:pt x="160" y="572"/>
                  </a:lnTo>
                  <a:lnTo>
                    <a:pt x="165" y="578"/>
                  </a:lnTo>
                  <a:lnTo>
                    <a:pt x="165" y="572"/>
                  </a:lnTo>
                  <a:lnTo>
                    <a:pt x="165" y="567"/>
                  </a:lnTo>
                  <a:lnTo>
                    <a:pt x="165" y="561"/>
                  </a:lnTo>
                  <a:lnTo>
                    <a:pt x="165" y="556"/>
                  </a:lnTo>
                  <a:lnTo>
                    <a:pt x="165" y="550"/>
                  </a:lnTo>
                  <a:lnTo>
                    <a:pt x="165" y="545"/>
                  </a:lnTo>
                  <a:lnTo>
                    <a:pt x="165" y="539"/>
                  </a:lnTo>
                  <a:lnTo>
                    <a:pt x="171" y="534"/>
                  </a:lnTo>
                  <a:lnTo>
                    <a:pt x="165" y="534"/>
                  </a:lnTo>
                  <a:lnTo>
                    <a:pt x="165" y="528"/>
                  </a:lnTo>
                  <a:lnTo>
                    <a:pt x="160" y="528"/>
                  </a:lnTo>
                  <a:lnTo>
                    <a:pt x="154" y="523"/>
                  </a:lnTo>
                  <a:lnTo>
                    <a:pt x="154" y="517"/>
                  </a:lnTo>
                  <a:lnTo>
                    <a:pt x="160" y="517"/>
                  </a:lnTo>
                  <a:lnTo>
                    <a:pt x="160" y="512"/>
                  </a:lnTo>
                  <a:lnTo>
                    <a:pt x="154" y="512"/>
                  </a:lnTo>
                  <a:lnTo>
                    <a:pt x="154" y="506"/>
                  </a:lnTo>
                  <a:lnTo>
                    <a:pt x="149" y="501"/>
                  </a:lnTo>
                  <a:lnTo>
                    <a:pt x="149" y="495"/>
                  </a:lnTo>
                  <a:lnTo>
                    <a:pt x="154" y="495"/>
                  </a:lnTo>
                  <a:lnTo>
                    <a:pt x="149" y="490"/>
                  </a:lnTo>
                  <a:lnTo>
                    <a:pt x="149" y="484"/>
                  </a:lnTo>
                  <a:lnTo>
                    <a:pt x="143" y="484"/>
                  </a:lnTo>
                  <a:lnTo>
                    <a:pt x="143" y="479"/>
                  </a:lnTo>
                  <a:lnTo>
                    <a:pt x="143" y="473"/>
                  </a:lnTo>
                  <a:lnTo>
                    <a:pt x="149" y="473"/>
                  </a:lnTo>
                  <a:lnTo>
                    <a:pt x="149" y="468"/>
                  </a:lnTo>
                  <a:lnTo>
                    <a:pt x="143" y="462"/>
                  </a:lnTo>
                  <a:lnTo>
                    <a:pt x="138" y="462"/>
                  </a:lnTo>
                  <a:lnTo>
                    <a:pt x="138" y="457"/>
                  </a:lnTo>
                  <a:lnTo>
                    <a:pt x="132" y="451"/>
                  </a:lnTo>
                  <a:lnTo>
                    <a:pt x="132" y="446"/>
                  </a:lnTo>
                  <a:lnTo>
                    <a:pt x="132" y="440"/>
                  </a:lnTo>
                  <a:lnTo>
                    <a:pt x="138" y="435"/>
                  </a:lnTo>
                  <a:lnTo>
                    <a:pt x="138" y="429"/>
                  </a:lnTo>
                  <a:lnTo>
                    <a:pt x="143" y="429"/>
                  </a:lnTo>
                  <a:lnTo>
                    <a:pt x="143" y="424"/>
                  </a:lnTo>
                  <a:lnTo>
                    <a:pt x="149" y="424"/>
                  </a:lnTo>
                  <a:lnTo>
                    <a:pt x="143" y="424"/>
                  </a:lnTo>
                  <a:lnTo>
                    <a:pt x="143" y="418"/>
                  </a:lnTo>
                  <a:lnTo>
                    <a:pt x="143" y="413"/>
                  </a:lnTo>
                  <a:lnTo>
                    <a:pt x="149" y="413"/>
                  </a:lnTo>
                  <a:lnTo>
                    <a:pt x="149" y="407"/>
                  </a:lnTo>
                  <a:lnTo>
                    <a:pt x="149" y="402"/>
                  </a:lnTo>
                  <a:lnTo>
                    <a:pt x="154" y="402"/>
                  </a:lnTo>
                  <a:lnTo>
                    <a:pt x="154" y="396"/>
                  </a:lnTo>
                  <a:lnTo>
                    <a:pt x="149" y="396"/>
                  </a:lnTo>
                  <a:lnTo>
                    <a:pt x="154" y="396"/>
                  </a:lnTo>
                  <a:lnTo>
                    <a:pt x="160" y="396"/>
                  </a:lnTo>
                  <a:lnTo>
                    <a:pt x="165" y="391"/>
                  </a:lnTo>
                  <a:lnTo>
                    <a:pt x="165" y="385"/>
                  </a:lnTo>
                  <a:lnTo>
                    <a:pt x="165" y="380"/>
                  </a:lnTo>
                  <a:lnTo>
                    <a:pt x="160" y="380"/>
                  </a:lnTo>
                  <a:lnTo>
                    <a:pt x="160" y="374"/>
                  </a:lnTo>
                  <a:lnTo>
                    <a:pt x="165" y="369"/>
                  </a:lnTo>
                  <a:lnTo>
                    <a:pt x="160" y="369"/>
                  </a:lnTo>
                  <a:lnTo>
                    <a:pt x="160" y="363"/>
                  </a:lnTo>
                  <a:lnTo>
                    <a:pt x="160" y="358"/>
                  </a:lnTo>
                  <a:lnTo>
                    <a:pt x="160" y="347"/>
                  </a:lnTo>
                  <a:lnTo>
                    <a:pt x="160" y="341"/>
                  </a:lnTo>
                  <a:lnTo>
                    <a:pt x="165" y="336"/>
                  </a:lnTo>
                  <a:lnTo>
                    <a:pt x="165" y="330"/>
                  </a:lnTo>
                  <a:lnTo>
                    <a:pt x="171" y="325"/>
                  </a:lnTo>
                  <a:lnTo>
                    <a:pt x="171" y="319"/>
                  </a:lnTo>
                  <a:lnTo>
                    <a:pt x="171" y="314"/>
                  </a:lnTo>
                  <a:lnTo>
                    <a:pt x="176" y="303"/>
                  </a:lnTo>
                  <a:lnTo>
                    <a:pt x="182" y="303"/>
                  </a:lnTo>
                  <a:lnTo>
                    <a:pt x="182" y="297"/>
                  </a:lnTo>
                  <a:lnTo>
                    <a:pt x="187" y="297"/>
                  </a:lnTo>
                  <a:lnTo>
                    <a:pt x="187" y="292"/>
                  </a:lnTo>
                  <a:lnTo>
                    <a:pt x="187" y="286"/>
                  </a:lnTo>
                  <a:lnTo>
                    <a:pt x="193" y="286"/>
                  </a:lnTo>
                  <a:lnTo>
                    <a:pt x="198" y="281"/>
                  </a:lnTo>
                  <a:lnTo>
                    <a:pt x="198" y="275"/>
                  </a:lnTo>
                  <a:lnTo>
                    <a:pt x="198" y="270"/>
                  </a:lnTo>
                  <a:lnTo>
                    <a:pt x="198" y="264"/>
                  </a:lnTo>
                  <a:lnTo>
                    <a:pt x="204" y="259"/>
                  </a:lnTo>
                  <a:lnTo>
                    <a:pt x="209" y="253"/>
                  </a:lnTo>
                  <a:lnTo>
                    <a:pt x="209" y="248"/>
                  </a:lnTo>
                  <a:lnTo>
                    <a:pt x="209" y="242"/>
                  </a:lnTo>
                  <a:lnTo>
                    <a:pt x="215" y="242"/>
                  </a:lnTo>
                  <a:lnTo>
                    <a:pt x="220" y="248"/>
                  </a:lnTo>
                  <a:lnTo>
                    <a:pt x="220" y="242"/>
                  </a:lnTo>
                  <a:lnTo>
                    <a:pt x="226" y="242"/>
                  </a:lnTo>
                  <a:lnTo>
                    <a:pt x="231" y="242"/>
                  </a:lnTo>
                  <a:lnTo>
                    <a:pt x="231" y="237"/>
                  </a:lnTo>
                  <a:lnTo>
                    <a:pt x="226" y="226"/>
                  </a:lnTo>
                  <a:lnTo>
                    <a:pt x="220" y="220"/>
                  </a:lnTo>
                  <a:lnTo>
                    <a:pt x="220" y="215"/>
                  </a:lnTo>
                  <a:lnTo>
                    <a:pt x="220" y="209"/>
                  </a:lnTo>
                  <a:lnTo>
                    <a:pt x="226" y="204"/>
                  </a:lnTo>
                  <a:lnTo>
                    <a:pt x="226" y="198"/>
                  </a:lnTo>
                  <a:lnTo>
                    <a:pt x="226" y="182"/>
                  </a:lnTo>
                  <a:lnTo>
                    <a:pt x="220" y="176"/>
                  </a:lnTo>
                  <a:lnTo>
                    <a:pt x="220" y="171"/>
                  </a:lnTo>
                  <a:lnTo>
                    <a:pt x="220" y="165"/>
                  </a:lnTo>
                  <a:lnTo>
                    <a:pt x="226" y="154"/>
                  </a:lnTo>
                  <a:lnTo>
                    <a:pt x="231" y="154"/>
                  </a:lnTo>
                  <a:lnTo>
                    <a:pt x="226" y="149"/>
                  </a:lnTo>
                  <a:lnTo>
                    <a:pt x="226" y="143"/>
                  </a:lnTo>
                  <a:lnTo>
                    <a:pt x="220" y="143"/>
                  </a:lnTo>
                  <a:lnTo>
                    <a:pt x="220" y="138"/>
                  </a:lnTo>
                  <a:lnTo>
                    <a:pt x="226" y="132"/>
                  </a:lnTo>
                  <a:lnTo>
                    <a:pt x="226" y="127"/>
                  </a:lnTo>
                  <a:lnTo>
                    <a:pt x="226" y="132"/>
                  </a:lnTo>
                  <a:lnTo>
                    <a:pt x="226" y="127"/>
                  </a:lnTo>
                  <a:lnTo>
                    <a:pt x="231" y="127"/>
                  </a:lnTo>
                  <a:lnTo>
                    <a:pt x="237" y="121"/>
                  </a:lnTo>
                  <a:lnTo>
                    <a:pt x="275" y="105"/>
                  </a:lnTo>
                  <a:lnTo>
                    <a:pt x="281" y="72"/>
                  </a:lnTo>
                  <a:lnTo>
                    <a:pt x="292" y="55"/>
                  </a:lnTo>
                  <a:lnTo>
                    <a:pt x="281" y="44"/>
                  </a:lnTo>
                  <a:lnTo>
                    <a:pt x="286" y="44"/>
                  </a:lnTo>
                  <a:lnTo>
                    <a:pt x="286" y="39"/>
                  </a:lnTo>
                  <a:lnTo>
                    <a:pt x="286" y="33"/>
                  </a:lnTo>
                  <a:lnTo>
                    <a:pt x="292" y="33"/>
                  </a:lnTo>
                  <a:lnTo>
                    <a:pt x="297" y="28"/>
                  </a:lnTo>
                  <a:lnTo>
                    <a:pt x="297" y="22"/>
                  </a:lnTo>
                  <a:lnTo>
                    <a:pt x="303" y="22"/>
                  </a:lnTo>
                  <a:lnTo>
                    <a:pt x="303" y="17"/>
                  </a:lnTo>
                  <a:lnTo>
                    <a:pt x="303" y="22"/>
                  </a:lnTo>
                  <a:lnTo>
                    <a:pt x="308" y="17"/>
                  </a:lnTo>
                  <a:lnTo>
                    <a:pt x="319" y="17"/>
                  </a:lnTo>
                  <a:lnTo>
                    <a:pt x="319" y="11"/>
                  </a:lnTo>
                  <a:lnTo>
                    <a:pt x="319" y="6"/>
                  </a:lnTo>
                  <a:lnTo>
                    <a:pt x="325" y="0"/>
                  </a:lnTo>
                  <a:lnTo>
                    <a:pt x="330" y="0"/>
                  </a:lnTo>
                  <a:lnTo>
                    <a:pt x="330" y="6"/>
                  </a:lnTo>
                  <a:lnTo>
                    <a:pt x="336" y="6"/>
                  </a:lnTo>
                  <a:lnTo>
                    <a:pt x="341" y="11"/>
                  </a:lnTo>
                  <a:lnTo>
                    <a:pt x="341" y="17"/>
                  </a:lnTo>
                  <a:lnTo>
                    <a:pt x="352" y="11"/>
                  </a:lnTo>
                  <a:lnTo>
                    <a:pt x="358" y="11"/>
                  </a:lnTo>
                  <a:lnTo>
                    <a:pt x="380" y="11"/>
                  </a:lnTo>
                  <a:lnTo>
                    <a:pt x="380" y="17"/>
                  </a:lnTo>
                  <a:lnTo>
                    <a:pt x="385" y="17"/>
                  </a:lnTo>
                  <a:lnTo>
                    <a:pt x="391" y="17"/>
                  </a:lnTo>
                  <a:lnTo>
                    <a:pt x="396" y="22"/>
                  </a:lnTo>
                  <a:lnTo>
                    <a:pt x="396" y="28"/>
                  </a:lnTo>
                  <a:lnTo>
                    <a:pt x="402" y="33"/>
                  </a:lnTo>
                  <a:lnTo>
                    <a:pt x="402" y="39"/>
                  </a:lnTo>
                  <a:lnTo>
                    <a:pt x="402" y="44"/>
                  </a:lnTo>
                  <a:lnTo>
                    <a:pt x="402" y="50"/>
                  </a:lnTo>
                  <a:lnTo>
                    <a:pt x="407" y="50"/>
                  </a:lnTo>
                  <a:lnTo>
                    <a:pt x="407" y="44"/>
                  </a:lnTo>
                  <a:lnTo>
                    <a:pt x="407" y="39"/>
                  </a:lnTo>
                  <a:lnTo>
                    <a:pt x="407" y="33"/>
                  </a:lnTo>
                  <a:lnTo>
                    <a:pt x="413" y="33"/>
                  </a:lnTo>
                  <a:lnTo>
                    <a:pt x="413" y="28"/>
                  </a:lnTo>
                  <a:lnTo>
                    <a:pt x="413" y="22"/>
                  </a:lnTo>
                  <a:lnTo>
                    <a:pt x="418" y="22"/>
                  </a:lnTo>
                  <a:lnTo>
                    <a:pt x="418" y="17"/>
                  </a:lnTo>
                  <a:lnTo>
                    <a:pt x="418" y="11"/>
                  </a:lnTo>
                  <a:lnTo>
                    <a:pt x="424" y="11"/>
                  </a:lnTo>
                  <a:lnTo>
                    <a:pt x="424" y="6"/>
                  </a:lnTo>
                  <a:lnTo>
                    <a:pt x="429" y="6"/>
                  </a:lnTo>
                  <a:lnTo>
                    <a:pt x="435" y="11"/>
                  </a:lnTo>
                  <a:lnTo>
                    <a:pt x="435" y="6"/>
                  </a:lnTo>
                  <a:lnTo>
                    <a:pt x="473" y="6"/>
                  </a:lnTo>
                  <a:lnTo>
                    <a:pt x="473" y="17"/>
                  </a:lnTo>
                  <a:lnTo>
                    <a:pt x="479" y="17"/>
                  </a:lnTo>
                  <a:lnTo>
                    <a:pt x="479" y="22"/>
                  </a:lnTo>
                  <a:close/>
                  <a:moveTo>
                    <a:pt x="226" y="1430"/>
                  </a:moveTo>
                  <a:lnTo>
                    <a:pt x="226" y="1430"/>
                  </a:lnTo>
                  <a:lnTo>
                    <a:pt x="226" y="1447"/>
                  </a:lnTo>
                  <a:lnTo>
                    <a:pt x="248" y="1469"/>
                  </a:lnTo>
                  <a:lnTo>
                    <a:pt x="281" y="1491"/>
                  </a:lnTo>
                  <a:lnTo>
                    <a:pt x="314" y="1502"/>
                  </a:lnTo>
                  <a:lnTo>
                    <a:pt x="363" y="1518"/>
                  </a:lnTo>
                  <a:lnTo>
                    <a:pt x="347" y="1529"/>
                  </a:lnTo>
                  <a:lnTo>
                    <a:pt x="308" y="1535"/>
                  </a:lnTo>
                  <a:lnTo>
                    <a:pt x="259" y="1524"/>
                  </a:lnTo>
                  <a:lnTo>
                    <a:pt x="226" y="1524"/>
                  </a:lnTo>
                  <a:lnTo>
                    <a:pt x="220" y="1524"/>
                  </a:lnTo>
                  <a:lnTo>
                    <a:pt x="220" y="1518"/>
                  </a:lnTo>
                  <a:lnTo>
                    <a:pt x="220" y="1436"/>
                  </a:lnTo>
                  <a:lnTo>
                    <a:pt x="226" y="1430"/>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sp>
          <p:nvSpPr>
            <p:cNvPr id="221" name="Freeform 19">
              <a:extLst>
                <a:ext uri="{FF2B5EF4-FFF2-40B4-BE49-F238E27FC236}">
                  <a16:creationId xmlns:a16="http://schemas.microsoft.com/office/drawing/2014/main" id="{D194874D-4743-41D5-ADBA-659C216D81F4}"/>
                </a:ext>
              </a:extLst>
            </p:cNvPr>
            <p:cNvSpPr>
              <a:spLocks/>
            </p:cNvSpPr>
            <p:nvPr/>
          </p:nvSpPr>
          <p:spPr bwMode="auto">
            <a:xfrm rot="21367780">
              <a:off x="3896489" y="1502817"/>
              <a:ext cx="66970" cy="56116"/>
            </a:xfrm>
            <a:custGeom>
              <a:avLst/>
              <a:gdLst>
                <a:gd name="T0" fmla="*/ 38 w 38"/>
                <a:gd name="T1" fmla="*/ 11 h 33"/>
                <a:gd name="T2" fmla="*/ 38 w 38"/>
                <a:gd name="T3" fmla="*/ 28 h 33"/>
                <a:gd name="T4" fmla="*/ 11 w 38"/>
                <a:gd name="T5" fmla="*/ 33 h 33"/>
                <a:gd name="T6" fmla="*/ 0 w 38"/>
                <a:gd name="T7" fmla="*/ 28 h 33"/>
                <a:gd name="T8" fmla="*/ 16 w 38"/>
                <a:gd name="T9" fmla="*/ 22 h 33"/>
                <a:gd name="T10" fmla="*/ 16 w 38"/>
                <a:gd name="T11" fmla="*/ 6 h 33"/>
                <a:gd name="T12" fmla="*/ 16 w 38"/>
                <a:gd name="T13" fmla="*/ 0 h 33"/>
                <a:gd name="T14" fmla="*/ 27 w 38"/>
                <a:gd name="T15" fmla="*/ 0 h 33"/>
                <a:gd name="T16" fmla="*/ 38 w 38"/>
                <a:gd name="T17" fmla="*/ 0 h 33"/>
                <a:gd name="T18" fmla="*/ 38 w 38"/>
                <a:gd name="T19" fmla="*/ 0 h 33"/>
                <a:gd name="T20" fmla="*/ 38 w 38"/>
                <a:gd name="T21" fmla="*/ 11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33"/>
                <a:gd name="T35" fmla="*/ 38 w 38"/>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33">
                  <a:moveTo>
                    <a:pt x="38" y="11"/>
                  </a:moveTo>
                  <a:lnTo>
                    <a:pt x="38" y="28"/>
                  </a:lnTo>
                  <a:lnTo>
                    <a:pt x="11" y="33"/>
                  </a:lnTo>
                  <a:lnTo>
                    <a:pt x="0" y="28"/>
                  </a:lnTo>
                  <a:lnTo>
                    <a:pt x="16" y="22"/>
                  </a:lnTo>
                  <a:lnTo>
                    <a:pt x="16" y="6"/>
                  </a:lnTo>
                  <a:lnTo>
                    <a:pt x="16" y="0"/>
                  </a:lnTo>
                  <a:lnTo>
                    <a:pt x="27" y="0"/>
                  </a:lnTo>
                  <a:lnTo>
                    <a:pt x="38" y="0"/>
                  </a:lnTo>
                  <a:lnTo>
                    <a:pt x="38" y="11"/>
                  </a:lnTo>
                  <a:close/>
                </a:path>
              </a:pathLst>
            </a:custGeom>
            <a:grpFill/>
            <a:ln w="19050" cap="flat" cmpd="sng">
              <a:solidFill>
                <a:srgbClr val="FFFFFF"/>
              </a:solidFill>
              <a:prstDash val="solid"/>
              <a:round/>
              <a:headEnd type="none" w="med" len="med"/>
              <a:tailEnd type="none" w="med" len="med"/>
            </a:ln>
          </p:spPr>
          <p:txBody>
            <a:bodyPr/>
            <a:lstStyle/>
            <a:p>
              <a:pPr defTabSz="981334">
                <a:defRPr/>
              </a:pPr>
              <a:endParaRPr lang="en-US" sz="1900" kern="0">
                <a:solidFill>
                  <a:prstClr val="black"/>
                </a:solidFill>
                <a:latin typeface="Verdana"/>
                <a:cs typeface="Arial" pitchFamily="34" charset="0"/>
              </a:endParaRPr>
            </a:p>
          </p:txBody>
        </p:sp>
      </p:grpSp>
      <p:sp>
        <p:nvSpPr>
          <p:cNvPr id="222" name="Text Box 26">
            <a:extLst>
              <a:ext uri="{FF2B5EF4-FFF2-40B4-BE49-F238E27FC236}">
                <a16:creationId xmlns:a16="http://schemas.microsoft.com/office/drawing/2014/main" id="{0100BEFF-DECD-4AF2-AC25-3E170A86DC70}"/>
              </a:ext>
            </a:extLst>
          </p:cNvPr>
          <p:cNvSpPr txBox="1">
            <a:spLocks noChangeArrowheads="1"/>
          </p:cNvSpPr>
          <p:nvPr/>
        </p:nvSpPr>
        <p:spPr bwMode="gray">
          <a:xfrm>
            <a:off x="9304252" y="2938605"/>
            <a:ext cx="82234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gn="r" fontAlgn="base">
              <a:lnSpc>
                <a:spcPct val="80000"/>
              </a:lnSpc>
              <a:spcBef>
                <a:spcPct val="0"/>
              </a:spcBef>
              <a:spcAft>
                <a:spcPct val="0"/>
              </a:spcAft>
              <a:buClrTx/>
              <a:buNone/>
              <a:defRPr/>
            </a:pPr>
            <a:r>
              <a:rPr lang="es-AR" altLang="en-US" sz="1000" kern="0" dirty="0" err="1">
                <a:solidFill>
                  <a:prstClr val="black"/>
                </a:solidFill>
              </a:rPr>
              <a:t>Jaboatão</a:t>
            </a:r>
            <a:r>
              <a:rPr lang="es-AR" altLang="en-US" sz="1000" kern="0" dirty="0">
                <a:solidFill>
                  <a:prstClr val="black"/>
                </a:solidFill>
              </a:rPr>
              <a:t> (EC)</a:t>
            </a:r>
          </a:p>
        </p:txBody>
      </p:sp>
      <p:sp>
        <p:nvSpPr>
          <p:cNvPr id="223" name="Text Box 25">
            <a:extLst>
              <a:ext uri="{FF2B5EF4-FFF2-40B4-BE49-F238E27FC236}">
                <a16:creationId xmlns:a16="http://schemas.microsoft.com/office/drawing/2014/main" id="{304065D4-E27C-4B28-9457-3EC0E14E42B6}"/>
              </a:ext>
            </a:extLst>
          </p:cNvPr>
          <p:cNvSpPr txBox="1">
            <a:spLocks noChangeArrowheads="1"/>
          </p:cNvSpPr>
          <p:nvPr/>
        </p:nvSpPr>
        <p:spPr bwMode="gray">
          <a:xfrm>
            <a:off x="8147845" y="4181560"/>
            <a:ext cx="881063"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fontAlgn="base">
              <a:lnSpc>
                <a:spcPct val="80000"/>
              </a:lnSpc>
              <a:spcBef>
                <a:spcPct val="0"/>
              </a:spcBef>
              <a:spcAft>
                <a:spcPct val="0"/>
              </a:spcAft>
              <a:buClrTx/>
              <a:buNone/>
              <a:defRPr/>
            </a:pPr>
            <a:r>
              <a:rPr lang="es-AR" altLang="en-US" sz="1000" kern="0" dirty="0" err="1">
                <a:solidFill>
                  <a:prstClr val="black"/>
                </a:solidFill>
              </a:rPr>
              <a:t>Demarchi</a:t>
            </a:r>
            <a:r>
              <a:rPr lang="es-AR" altLang="en-US" sz="1000" kern="0" dirty="0">
                <a:solidFill>
                  <a:prstClr val="black"/>
                </a:solidFill>
              </a:rPr>
              <a:t> (EC)</a:t>
            </a:r>
          </a:p>
        </p:txBody>
      </p:sp>
      <p:sp>
        <p:nvSpPr>
          <p:cNvPr id="224" name="Text Box 82">
            <a:extLst>
              <a:ext uri="{FF2B5EF4-FFF2-40B4-BE49-F238E27FC236}">
                <a16:creationId xmlns:a16="http://schemas.microsoft.com/office/drawing/2014/main" id="{817721C9-1AE3-406A-B787-2C68547E3944}"/>
              </a:ext>
            </a:extLst>
          </p:cNvPr>
          <p:cNvSpPr txBox="1">
            <a:spLocks noChangeArrowheads="1"/>
          </p:cNvSpPr>
          <p:nvPr/>
        </p:nvSpPr>
        <p:spPr bwMode="gray">
          <a:xfrm>
            <a:off x="8920092" y="3306311"/>
            <a:ext cx="12065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gn="r" fontAlgn="base">
              <a:lnSpc>
                <a:spcPct val="80000"/>
              </a:lnSpc>
              <a:spcBef>
                <a:spcPct val="0"/>
              </a:spcBef>
              <a:spcAft>
                <a:spcPct val="0"/>
              </a:spcAft>
              <a:buClrTx/>
              <a:buNone/>
              <a:defRPr/>
            </a:pPr>
            <a:r>
              <a:rPr lang="es-AR" altLang="en-US" sz="1000" kern="0" dirty="0" err="1">
                <a:solidFill>
                  <a:prstClr val="black"/>
                </a:solidFill>
              </a:rPr>
              <a:t>Camaçari</a:t>
            </a:r>
            <a:r>
              <a:rPr lang="es-AR" altLang="en-US" sz="1000" kern="0" dirty="0">
                <a:solidFill>
                  <a:prstClr val="black"/>
                </a:solidFill>
              </a:rPr>
              <a:t> (CP e EM)</a:t>
            </a:r>
          </a:p>
        </p:txBody>
      </p:sp>
      <p:sp>
        <p:nvSpPr>
          <p:cNvPr id="225" name="Rectangle 94">
            <a:extLst>
              <a:ext uri="{FF2B5EF4-FFF2-40B4-BE49-F238E27FC236}">
                <a16:creationId xmlns:a16="http://schemas.microsoft.com/office/drawing/2014/main" id="{3D68AF86-7AC7-4482-89B6-9F92FAEF0A2A}"/>
              </a:ext>
            </a:extLst>
          </p:cNvPr>
          <p:cNvSpPr>
            <a:spLocks noChangeArrowheads="1"/>
          </p:cNvSpPr>
          <p:nvPr/>
        </p:nvSpPr>
        <p:spPr bwMode="auto">
          <a:xfrm>
            <a:off x="8147844" y="3612349"/>
            <a:ext cx="230479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fontAlgn="base">
              <a:lnSpc>
                <a:spcPct val="80000"/>
              </a:lnSpc>
              <a:spcBef>
                <a:spcPct val="0"/>
              </a:spcBef>
              <a:spcAft>
                <a:spcPct val="0"/>
              </a:spcAft>
              <a:buClrTx/>
              <a:buNone/>
              <a:defRPr/>
            </a:pPr>
            <a:r>
              <a:rPr lang="es-AR" altLang="en-US" sz="1000" kern="0" dirty="0" err="1">
                <a:solidFill>
                  <a:prstClr val="black"/>
                </a:solidFill>
              </a:rPr>
              <a:t>Guaratinguetá</a:t>
            </a:r>
            <a:r>
              <a:rPr lang="es-AR" altLang="en-US" sz="1000" kern="0" dirty="0">
                <a:solidFill>
                  <a:prstClr val="black"/>
                </a:solidFill>
              </a:rPr>
              <a:t>  </a:t>
            </a:r>
            <a:r>
              <a:rPr lang="es-AR" altLang="en-US" sz="1000" kern="0" spc="-40" dirty="0">
                <a:solidFill>
                  <a:prstClr val="black"/>
                </a:solidFill>
              </a:rPr>
              <a:t>(AP, CI, CP, ED, EV e PM) </a:t>
            </a:r>
          </a:p>
        </p:txBody>
      </p:sp>
      <p:sp>
        <p:nvSpPr>
          <p:cNvPr id="226" name="Text Box 25">
            <a:extLst>
              <a:ext uri="{FF2B5EF4-FFF2-40B4-BE49-F238E27FC236}">
                <a16:creationId xmlns:a16="http://schemas.microsoft.com/office/drawing/2014/main" id="{9090A884-4C3D-474F-93A9-75FD6AB8EDFF}"/>
              </a:ext>
            </a:extLst>
          </p:cNvPr>
          <p:cNvSpPr txBox="1">
            <a:spLocks noChangeArrowheads="1"/>
          </p:cNvSpPr>
          <p:nvPr/>
        </p:nvSpPr>
        <p:spPr bwMode="gray">
          <a:xfrm>
            <a:off x="8147844" y="4371535"/>
            <a:ext cx="109164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fontAlgn="base">
              <a:lnSpc>
                <a:spcPct val="80000"/>
              </a:lnSpc>
              <a:spcBef>
                <a:spcPct val="0"/>
              </a:spcBef>
              <a:spcAft>
                <a:spcPct val="0"/>
              </a:spcAft>
              <a:buClrTx/>
              <a:buNone/>
              <a:defRPr/>
            </a:pPr>
            <a:r>
              <a:rPr lang="es-AR" altLang="en-US" sz="1000" kern="0" dirty="0">
                <a:solidFill>
                  <a:prstClr val="black"/>
                </a:solidFill>
              </a:rPr>
              <a:t>Vila Prudente (EB)</a:t>
            </a:r>
          </a:p>
        </p:txBody>
      </p:sp>
      <p:sp>
        <p:nvSpPr>
          <p:cNvPr id="227" name="Text Box 25">
            <a:extLst>
              <a:ext uri="{FF2B5EF4-FFF2-40B4-BE49-F238E27FC236}">
                <a16:creationId xmlns:a16="http://schemas.microsoft.com/office/drawing/2014/main" id="{0B7F8061-7152-4079-93BB-6AAB8349AAAE}"/>
              </a:ext>
            </a:extLst>
          </p:cNvPr>
          <p:cNvSpPr txBox="1">
            <a:spLocks noChangeArrowheads="1"/>
          </p:cNvSpPr>
          <p:nvPr/>
        </p:nvSpPr>
        <p:spPr bwMode="gray">
          <a:xfrm>
            <a:off x="8147845" y="3991585"/>
            <a:ext cx="75982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fontAlgn="base">
              <a:lnSpc>
                <a:spcPct val="80000"/>
              </a:lnSpc>
              <a:spcBef>
                <a:spcPct val="0"/>
              </a:spcBef>
              <a:spcAft>
                <a:spcPct val="0"/>
              </a:spcAft>
              <a:buClrTx/>
              <a:buNone/>
              <a:defRPr/>
            </a:pPr>
            <a:r>
              <a:rPr lang="es-AR" altLang="en-US" sz="1000" kern="0" dirty="0" err="1">
                <a:solidFill>
                  <a:prstClr val="black"/>
                </a:solidFill>
              </a:rPr>
              <a:t>Paulínia</a:t>
            </a:r>
            <a:r>
              <a:rPr lang="es-AR" altLang="en-US" sz="1000" kern="0" dirty="0">
                <a:solidFill>
                  <a:prstClr val="black"/>
                </a:solidFill>
              </a:rPr>
              <a:t> (ED)</a:t>
            </a:r>
          </a:p>
        </p:txBody>
      </p:sp>
      <p:sp>
        <p:nvSpPr>
          <p:cNvPr id="228" name="Text Box 25">
            <a:extLst>
              <a:ext uri="{FF2B5EF4-FFF2-40B4-BE49-F238E27FC236}">
                <a16:creationId xmlns:a16="http://schemas.microsoft.com/office/drawing/2014/main" id="{A60E1A38-0A50-4821-8F50-A49569766D5E}"/>
              </a:ext>
            </a:extLst>
          </p:cNvPr>
          <p:cNvSpPr txBox="1">
            <a:spLocks noChangeArrowheads="1"/>
          </p:cNvSpPr>
          <p:nvPr/>
        </p:nvSpPr>
        <p:spPr bwMode="gray">
          <a:xfrm>
            <a:off x="8147844" y="4560796"/>
            <a:ext cx="90088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fontAlgn="base">
              <a:lnSpc>
                <a:spcPct val="80000"/>
              </a:lnSpc>
              <a:spcBef>
                <a:spcPct val="0"/>
              </a:spcBef>
              <a:spcAft>
                <a:spcPct val="0"/>
              </a:spcAft>
              <a:buClrTx/>
              <a:buNone/>
              <a:defRPr/>
            </a:pPr>
            <a:r>
              <a:rPr lang="es-AR" altLang="en-US" sz="1000" kern="0" dirty="0" err="1">
                <a:solidFill>
                  <a:prstClr val="black"/>
                </a:solidFill>
              </a:rPr>
              <a:t>Indaiatuba</a:t>
            </a:r>
            <a:r>
              <a:rPr lang="es-AR" altLang="en-US" sz="1000" kern="0" dirty="0">
                <a:solidFill>
                  <a:prstClr val="black"/>
                </a:solidFill>
              </a:rPr>
              <a:t> (CC)</a:t>
            </a:r>
          </a:p>
        </p:txBody>
      </p:sp>
      <p:sp>
        <p:nvSpPr>
          <p:cNvPr id="229" name="Text Box 25">
            <a:extLst>
              <a:ext uri="{FF2B5EF4-FFF2-40B4-BE49-F238E27FC236}">
                <a16:creationId xmlns:a16="http://schemas.microsoft.com/office/drawing/2014/main" id="{F7E2E170-7776-4CC7-8520-8C14E188FA41}"/>
              </a:ext>
            </a:extLst>
          </p:cNvPr>
          <p:cNvSpPr txBox="1">
            <a:spLocks noChangeArrowheads="1"/>
          </p:cNvSpPr>
          <p:nvPr/>
        </p:nvSpPr>
        <p:spPr bwMode="gray">
          <a:xfrm>
            <a:off x="8147845" y="3801610"/>
            <a:ext cx="132238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fontAlgn="base">
              <a:lnSpc>
                <a:spcPct val="80000"/>
              </a:lnSpc>
              <a:spcBef>
                <a:spcPct val="0"/>
              </a:spcBef>
              <a:spcAft>
                <a:spcPct val="0"/>
              </a:spcAft>
              <a:buClrTx/>
              <a:buNone/>
              <a:defRPr/>
            </a:pPr>
            <a:r>
              <a:rPr lang="pt-BR" altLang="en-US" sz="1000" kern="0" dirty="0">
                <a:solidFill>
                  <a:prstClr val="black"/>
                </a:solidFill>
              </a:rPr>
              <a:t>Jacareí (EM, EN e EV)</a:t>
            </a:r>
          </a:p>
        </p:txBody>
      </p:sp>
      <p:sp>
        <p:nvSpPr>
          <p:cNvPr id="230" name="Text Box 25">
            <a:extLst>
              <a:ext uri="{FF2B5EF4-FFF2-40B4-BE49-F238E27FC236}">
                <a16:creationId xmlns:a16="http://schemas.microsoft.com/office/drawing/2014/main" id="{F415CB4E-92FF-463F-9790-A4676ACC7A12}"/>
              </a:ext>
            </a:extLst>
          </p:cNvPr>
          <p:cNvSpPr txBox="1">
            <a:spLocks noChangeArrowheads="1"/>
          </p:cNvSpPr>
          <p:nvPr/>
        </p:nvSpPr>
        <p:spPr bwMode="gray">
          <a:xfrm>
            <a:off x="8715950" y="5746931"/>
            <a:ext cx="141064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gn="r" fontAlgn="base">
              <a:lnSpc>
                <a:spcPct val="80000"/>
              </a:lnSpc>
              <a:spcBef>
                <a:spcPct val="0"/>
              </a:spcBef>
              <a:spcAft>
                <a:spcPct val="0"/>
              </a:spcAft>
              <a:buClrTx/>
              <a:buNone/>
              <a:defRPr/>
            </a:pPr>
            <a:r>
              <a:rPr lang="es-AR" altLang="en-US" sz="1000" kern="0" dirty="0">
                <a:solidFill>
                  <a:prstClr val="black"/>
                </a:solidFill>
              </a:rPr>
              <a:t>General Lagos (AP, ED)</a:t>
            </a:r>
          </a:p>
        </p:txBody>
      </p:sp>
      <p:sp>
        <p:nvSpPr>
          <p:cNvPr id="231" name="Text Box 25">
            <a:extLst>
              <a:ext uri="{FF2B5EF4-FFF2-40B4-BE49-F238E27FC236}">
                <a16:creationId xmlns:a16="http://schemas.microsoft.com/office/drawing/2014/main" id="{95DA28A6-650E-4E44-A04D-C8E2E5AA4C85}"/>
              </a:ext>
            </a:extLst>
          </p:cNvPr>
          <p:cNvSpPr txBox="1">
            <a:spLocks noChangeArrowheads="1"/>
          </p:cNvSpPr>
          <p:nvPr/>
        </p:nvSpPr>
        <p:spPr bwMode="gray">
          <a:xfrm>
            <a:off x="8855410" y="6127563"/>
            <a:ext cx="127118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gn="r" fontAlgn="base">
              <a:lnSpc>
                <a:spcPct val="80000"/>
              </a:lnSpc>
              <a:spcBef>
                <a:spcPct val="0"/>
              </a:spcBef>
              <a:spcAft>
                <a:spcPct val="0"/>
              </a:spcAft>
              <a:buClrTx/>
              <a:buNone/>
              <a:defRPr/>
            </a:pPr>
            <a:r>
              <a:rPr lang="es-AR" altLang="en-US" sz="1000" kern="0" dirty="0">
                <a:solidFill>
                  <a:prstClr val="black"/>
                </a:solidFill>
              </a:rPr>
              <a:t>Tortuguitas (EC e EM)</a:t>
            </a:r>
          </a:p>
        </p:txBody>
      </p:sp>
      <p:sp>
        <p:nvSpPr>
          <p:cNvPr id="232" name="Text Box 25">
            <a:extLst>
              <a:ext uri="{FF2B5EF4-FFF2-40B4-BE49-F238E27FC236}">
                <a16:creationId xmlns:a16="http://schemas.microsoft.com/office/drawing/2014/main" id="{BCB0DE1B-F2D3-4D19-838A-C3315468AAFB}"/>
              </a:ext>
            </a:extLst>
          </p:cNvPr>
          <p:cNvSpPr txBox="1">
            <a:spLocks noChangeArrowheads="1"/>
          </p:cNvSpPr>
          <p:nvPr/>
        </p:nvSpPr>
        <p:spPr bwMode="gray">
          <a:xfrm>
            <a:off x="6115716" y="5333027"/>
            <a:ext cx="93046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gn="ctr" fontAlgn="base">
              <a:lnSpc>
                <a:spcPct val="80000"/>
              </a:lnSpc>
              <a:spcBef>
                <a:spcPct val="0"/>
              </a:spcBef>
              <a:spcAft>
                <a:spcPct val="0"/>
              </a:spcAft>
              <a:buClrTx/>
              <a:buNone/>
              <a:defRPr/>
            </a:pPr>
            <a:r>
              <a:rPr lang="es-AR" altLang="en-US" sz="1000" b="1" kern="0" dirty="0">
                <a:solidFill>
                  <a:srgbClr val="004896"/>
                </a:solidFill>
              </a:rPr>
              <a:t>Buenos Aires</a:t>
            </a:r>
          </a:p>
        </p:txBody>
      </p:sp>
      <p:sp>
        <p:nvSpPr>
          <p:cNvPr id="233" name="Text Box 25">
            <a:extLst>
              <a:ext uri="{FF2B5EF4-FFF2-40B4-BE49-F238E27FC236}">
                <a16:creationId xmlns:a16="http://schemas.microsoft.com/office/drawing/2014/main" id="{890656A0-40F5-47F1-965C-D5D977777FDA}"/>
              </a:ext>
            </a:extLst>
          </p:cNvPr>
          <p:cNvSpPr txBox="1">
            <a:spLocks noChangeArrowheads="1"/>
          </p:cNvSpPr>
          <p:nvPr/>
        </p:nvSpPr>
        <p:spPr bwMode="gray">
          <a:xfrm>
            <a:off x="6320016" y="4900088"/>
            <a:ext cx="2095553" cy="283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fontAlgn="base">
              <a:lnSpc>
                <a:spcPct val="80000"/>
              </a:lnSpc>
              <a:spcBef>
                <a:spcPct val="0"/>
              </a:spcBef>
              <a:spcAft>
                <a:spcPct val="0"/>
              </a:spcAft>
              <a:buClrTx/>
              <a:buNone/>
              <a:defRPr/>
            </a:pPr>
            <a:r>
              <a:rPr lang="es-AR" altLang="en-US" sz="1200" b="1" kern="0" dirty="0">
                <a:solidFill>
                  <a:srgbClr val="65AC1E">
                    <a:lumMod val="75000"/>
                  </a:srgbClr>
                </a:solidFill>
              </a:rPr>
              <a:t>Montevideo</a:t>
            </a:r>
            <a:r>
              <a:rPr lang="es-AR" altLang="en-US" sz="1200" b="1" kern="0" dirty="0">
                <a:solidFill>
                  <a:srgbClr val="65AC1E"/>
                </a:solidFill>
              </a:rPr>
              <a:t> </a:t>
            </a:r>
            <a:r>
              <a:rPr lang="es-AR" altLang="en-US" sz="1200" b="1" kern="0" dirty="0">
                <a:solidFill>
                  <a:srgbClr val="C50022"/>
                </a:solidFill>
              </a:rPr>
              <a:t> </a:t>
            </a:r>
            <a:br>
              <a:rPr lang="es-AR" altLang="en-US" sz="1200" b="1" kern="0" dirty="0">
                <a:solidFill>
                  <a:srgbClr val="C50022"/>
                </a:solidFill>
              </a:rPr>
            </a:br>
            <a:r>
              <a:rPr lang="es-AR" altLang="en-US" sz="1050" kern="0" dirty="0" err="1">
                <a:solidFill>
                  <a:prstClr val="black"/>
                </a:solidFill>
              </a:rPr>
              <a:t>Shared</a:t>
            </a:r>
            <a:r>
              <a:rPr lang="es-AR" altLang="en-US" sz="1050" kern="0" dirty="0">
                <a:solidFill>
                  <a:prstClr val="black"/>
                </a:solidFill>
              </a:rPr>
              <a:t> </a:t>
            </a:r>
            <a:r>
              <a:rPr lang="es-AR" altLang="en-US" sz="1050" kern="0" dirty="0" err="1">
                <a:solidFill>
                  <a:prstClr val="black"/>
                </a:solidFill>
              </a:rPr>
              <a:t>Service</a:t>
            </a:r>
            <a:r>
              <a:rPr lang="es-AR" altLang="en-US" sz="1050" kern="0" dirty="0">
                <a:solidFill>
                  <a:prstClr val="black"/>
                </a:solidFill>
              </a:rPr>
              <a:t> Center</a:t>
            </a:r>
          </a:p>
        </p:txBody>
      </p:sp>
      <p:sp>
        <p:nvSpPr>
          <p:cNvPr id="234" name="Text Box 104">
            <a:extLst>
              <a:ext uri="{FF2B5EF4-FFF2-40B4-BE49-F238E27FC236}">
                <a16:creationId xmlns:a16="http://schemas.microsoft.com/office/drawing/2014/main" id="{8CEA9917-E746-442A-A708-564B6E08A825}"/>
              </a:ext>
            </a:extLst>
          </p:cNvPr>
          <p:cNvSpPr txBox="1">
            <a:spLocks noChangeArrowheads="1"/>
          </p:cNvSpPr>
          <p:nvPr/>
        </p:nvSpPr>
        <p:spPr bwMode="gray">
          <a:xfrm>
            <a:off x="1975295" y="4828110"/>
            <a:ext cx="146835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fontAlgn="base">
              <a:lnSpc>
                <a:spcPct val="80000"/>
              </a:lnSpc>
              <a:spcBef>
                <a:spcPct val="0"/>
              </a:spcBef>
              <a:spcAft>
                <a:spcPct val="0"/>
              </a:spcAft>
              <a:buClrTx/>
              <a:buNone/>
              <a:defRPr/>
            </a:pPr>
            <a:r>
              <a:rPr lang="es-AR" altLang="en-US" sz="1000" kern="0" dirty="0">
                <a:solidFill>
                  <a:prstClr val="black"/>
                </a:solidFill>
              </a:rPr>
              <a:t>Concón (ED, EV, XD, AP)</a:t>
            </a:r>
          </a:p>
        </p:txBody>
      </p:sp>
      <p:sp>
        <p:nvSpPr>
          <p:cNvPr id="235" name="Text Box 104">
            <a:extLst>
              <a:ext uri="{FF2B5EF4-FFF2-40B4-BE49-F238E27FC236}">
                <a16:creationId xmlns:a16="http://schemas.microsoft.com/office/drawing/2014/main" id="{D35A30B8-0166-42D9-A276-9C08B7265E49}"/>
              </a:ext>
            </a:extLst>
          </p:cNvPr>
          <p:cNvSpPr txBox="1">
            <a:spLocks noChangeArrowheads="1"/>
          </p:cNvSpPr>
          <p:nvPr/>
        </p:nvSpPr>
        <p:spPr bwMode="gray">
          <a:xfrm>
            <a:off x="1975295" y="3273568"/>
            <a:ext cx="56906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fontAlgn="base">
              <a:lnSpc>
                <a:spcPct val="80000"/>
              </a:lnSpc>
              <a:spcBef>
                <a:spcPct val="0"/>
              </a:spcBef>
              <a:spcAft>
                <a:spcPct val="0"/>
              </a:spcAft>
              <a:buClrTx/>
              <a:buNone/>
              <a:defRPr/>
            </a:pPr>
            <a:r>
              <a:rPr lang="es-AR" altLang="en-US" sz="1000" kern="0" dirty="0">
                <a:solidFill>
                  <a:prstClr val="black"/>
                </a:solidFill>
              </a:rPr>
              <a:t>Lima (EB)</a:t>
            </a:r>
          </a:p>
        </p:txBody>
      </p:sp>
      <p:sp>
        <p:nvSpPr>
          <p:cNvPr id="236" name="Text Box 104">
            <a:extLst>
              <a:ext uri="{FF2B5EF4-FFF2-40B4-BE49-F238E27FC236}">
                <a16:creationId xmlns:a16="http://schemas.microsoft.com/office/drawing/2014/main" id="{C609F995-76A3-49DD-8177-F98E4AAEA96B}"/>
              </a:ext>
            </a:extLst>
          </p:cNvPr>
          <p:cNvSpPr txBox="1">
            <a:spLocks noChangeArrowheads="1"/>
          </p:cNvSpPr>
          <p:nvPr/>
        </p:nvSpPr>
        <p:spPr bwMode="gray">
          <a:xfrm>
            <a:off x="1975295" y="5076131"/>
            <a:ext cx="79348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fontAlgn="base">
              <a:lnSpc>
                <a:spcPct val="80000"/>
              </a:lnSpc>
              <a:spcBef>
                <a:spcPct val="0"/>
              </a:spcBef>
              <a:spcAft>
                <a:spcPct val="0"/>
              </a:spcAft>
              <a:buClrTx/>
              <a:buNone/>
              <a:defRPr/>
            </a:pPr>
            <a:r>
              <a:rPr lang="es-AR" altLang="en-US" sz="1000" kern="0" dirty="0">
                <a:solidFill>
                  <a:prstClr val="black"/>
                </a:solidFill>
              </a:rPr>
              <a:t>Santiago (EB)</a:t>
            </a:r>
          </a:p>
        </p:txBody>
      </p:sp>
      <p:sp>
        <p:nvSpPr>
          <p:cNvPr id="237" name="Text Box 104">
            <a:extLst>
              <a:ext uri="{FF2B5EF4-FFF2-40B4-BE49-F238E27FC236}">
                <a16:creationId xmlns:a16="http://schemas.microsoft.com/office/drawing/2014/main" id="{B9EAAA3F-84F5-4AE9-86AE-1CC93BF1BF5A}"/>
              </a:ext>
            </a:extLst>
          </p:cNvPr>
          <p:cNvSpPr txBox="1">
            <a:spLocks noChangeArrowheads="1"/>
          </p:cNvSpPr>
          <p:nvPr/>
        </p:nvSpPr>
        <p:spPr bwMode="gray">
          <a:xfrm>
            <a:off x="1975294" y="2091845"/>
            <a:ext cx="95011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fontAlgn="base">
              <a:lnSpc>
                <a:spcPct val="80000"/>
              </a:lnSpc>
              <a:spcBef>
                <a:spcPct val="0"/>
              </a:spcBef>
              <a:spcAft>
                <a:spcPct val="0"/>
              </a:spcAft>
              <a:buClrTx/>
              <a:buNone/>
              <a:defRPr/>
            </a:pPr>
            <a:r>
              <a:rPr lang="es-AR" altLang="en-US" sz="1000" kern="0" dirty="0">
                <a:solidFill>
                  <a:prstClr val="black"/>
                </a:solidFill>
              </a:rPr>
              <a:t>La Calera (EB)</a:t>
            </a:r>
          </a:p>
        </p:txBody>
      </p:sp>
      <p:sp>
        <p:nvSpPr>
          <p:cNvPr id="238" name="Text Box 104">
            <a:extLst>
              <a:ext uri="{FF2B5EF4-FFF2-40B4-BE49-F238E27FC236}">
                <a16:creationId xmlns:a16="http://schemas.microsoft.com/office/drawing/2014/main" id="{1A0F6043-62FA-4A42-AA6F-B36F3962CF01}"/>
              </a:ext>
            </a:extLst>
          </p:cNvPr>
          <p:cNvSpPr txBox="1">
            <a:spLocks noChangeArrowheads="1"/>
          </p:cNvSpPr>
          <p:nvPr/>
        </p:nvSpPr>
        <p:spPr bwMode="gray">
          <a:xfrm>
            <a:off x="5047678" y="4001041"/>
            <a:ext cx="99266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gn="ctr" fontAlgn="base">
              <a:lnSpc>
                <a:spcPct val="80000"/>
              </a:lnSpc>
              <a:spcBef>
                <a:spcPct val="0"/>
              </a:spcBef>
              <a:spcAft>
                <a:spcPct val="0"/>
              </a:spcAft>
              <a:buClrTx/>
              <a:buNone/>
              <a:defRPr/>
            </a:pPr>
            <a:r>
              <a:rPr lang="es-AR" altLang="en-US" sz="1000" b="1" kern="0" dirty="0">
                <a:solidFill>
                  <a:srgbClr val="004896"/>
                </a:solidFill>
              </a:rPr>
              <a:t>Santa Cruz</a:t>
            </a:r>
          </a:p>
        </p:txBody>
      </p:sp>
      <p:sp>
        <p:nvSpPr>
          <p:cNvPr id="239" name="Text Box 104">
            <a:extLst>
              <a:ext uri="{FF2B5EF4-FFF2-40B4-BE49-F238E27FC236}">
                <a16:creationId xmlns:a16="http://schemas.microsoft.com/office/drawing/2014/main" id="{D1B9A720-B434-4AA9-B0E3-3CBC1EBE00A0}"/>
              </a:ext>
            </a:extLst>
          </p:cNvPr>
          <p:cNvSpPr txBox="1">
            <a:spLocks noChangeArrowheads="1"/>
          </p:cNvSpPr>
          <p:nvPr/>
        </p:nvSpPr>
        <p:spPr bwMode="gray">
          <a:xfrm>
            <a:off x="5722513" y="4210955"/>
            <a:ext cx="58349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gn="r" fontAlgn="base">
              <a:lnSpc>
                <a:spcPct val="80000"/>
              </a:lnSpc>
              <a:spcBef>
                <a:spcPct val="0"/>
              </a:spcBef>
              <a:spcAft>
                <a:spcPct val="0"/>
              </a:spcAft>
              <a:buClrTx/>
              <a:buNone/>
              <a:defRPr/>
            </a:pPr>
            <a:r>
              <a:rPr lang="es-AR" altLang="en-US" sz="1000" b="1" kern="0" dirty="0">
                <a:solidFill>
                  <a:srgbClr val="004896"/>
                </a:solidFill>
              </a:rPr>
              <a:t>Asunción</a:t>
            </a:r>
          </a:p>
        </p:txBody>
      </p:sp>
      <p:sp>
        <p:nvSpPr>
          <p:cNvPr id="240" name="Text Box 104">
            <a:extLst>
              <a:ext uri="{FF2B5EF4-FFF2-40B4-BE49-F238E27FC236}">
                <a16:creationId xmlns:a16="http://schemas.microsoft.com/office/drawing/2014/main" id="{EF19DFF5-70AC-45A5-B55E-9DBAEB61E91A}"/>
              </a:ext>
            </a:extLst>
          </p:cNvPr>
          <p:cNvSpPr txBox="1">
            <a:spLocks noChangeArrowheads="1"/>
          </p:cNvSpPr>
          <p:nvPr/>
        </p:nvSpPr>
        <p:spPr bwMode="gray">
          <a:xfrm>
            <a:off x="4485048" y="5335421"/>
            <a:ext cx="106874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gn="ctr" fontAlgn="base">
              <a:lnSpc>
                <a:spcPct val="80000"/>
              </a:lnSpc>
              <a:spcBef>
                <a:spcPct val="0"/>
              </a:spcBef>
              <a:spcAft>
                <a:spcPct val="0"/>
              </a:spcAft>
              <a:buClrTx/>
              <a:buNone/>
              <a:defRPr/>
            </a:pPr>
            <a:r>
              <a:rPr lang="es-AR" altLang="en-US" sz="1000" b="1" kern="0" dirty="0">
                <a:solidFill>
                  <a:srgbClr val="004896"/>
                </a:solidFill>
              </a:rPr>
              <a:t>Santiago</a:t>
            </a:r>
            <a:endParaRPr lang="es-AR" altLang="en-US" sz="1000" kern="0" dirty="0">
              <a:solidFill>
                <a:srgbClr val="004896"/>
              </a:solidFill>
            </a:endParaRPr>
          </a:p>
        </p:txBody>
      </p:sp>
      <p:sp>
        <p:nvSpPr>
          <p:cNvPr id="241" name="Text Box 104">
            <a:extLst>
              <a:ext uri="{FF2B5EF4-FFF2-40B4-BE49-F238E27FC236}">
                <a16:creationId xmlns:a16="http://schemas.microsoft.com/office/drawing/2014/main" id="{6FA3F10D-516F-4896-8E7B-949AB4970D93}"/>
              </a:ext>
            </a:extLst>
          </p:cNvPr>
          <p:cNvSpPr txBox="1">
            <a:spLocks noChangeArrowheads="1"/>
          </p:cNvSpPr>
          <p:nvPr/>
        </p:nvSpPr>
        <p:spPr bwMode="gray">
          <a:xfrm>
            <a:off x="1975294" y="3495897"/>
            <a:ext cx="1185862"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fontAlgn="base">
              <a:lnSpc>
                <a:spcPct val="80000"/>
              </a:lnSpc>
              <a:spcBef>
                <a:spcPct val="0"/>
              </a:spcBef>
              <a:spcAft>
                <a:spcPct val="0"/>
              </a:spcAft>
              <a:buClrTx/>
              <a:buNone/>
              <a:defRPr/>
            </a:pPr>
            <a:r>
              <a:rPr lang="es-AR" altLang="en-US" sz="1000" kern="0" dirty="0">
                <a:solidFill>
                  <a:prstClr val="black"/>
                </a:solidFill>
              </a:rPr>
              <a:t>Callao (ED, EV, EM)</a:t>
            </a:r>
          </a:p>
        </p:txBody>
      </p:sp>
      <p:sp>
        <p:nvSpPr>
          <p:cNvPr id="242" name="Text Box 104">
            <a:extLst>
              <a:ext uri="{FF2B5EF4-FFF2-40B4-BE49-F238E27FC236}">
                <a16:creationId xmlns:a16="http://schemas.microsoft.com/office/drawing/2014/main" id="{4844053A-6952-45A0-A53D-410F2C7611E2}"/>
              </a:ext>
            </a:extLst>
          </p:cNvPr>
          <p:cNvSpPr txBox="1">
            <a:spLocks noChangeArrowheads="1"/>
          </p:cNvSpPr>
          <p:nvPr/>
        </p:nvSpPr>
        <p:spPr bwMode="gray">
          <a:xfrm>
            <a:off x="4354899" y="2227659"/>
            <a:ext cx="477695" cy="130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gn="ctr" fontAlgn="base">
              <a:lnSpc>
                <a:spcPct val="85000"/>
              </a:lnSpc>
              <a:spcBef>
                <a:spcPct val="0"/>
              </a:spcBef>
              <a:spcAft>
                <a:spcPct val="0"/>
              </a:spcAft>
              <a:buClrTx/>
              <a:buNone/>
              <a:defRPr/>
            </a:pPr>
            <a:r>
              <a:rPr lang="es-AR" altLang="en-US" sz="1000" b="1" kern="0" dirty="0">
                <a:solidFill>
                  <a:srgbClr val="004896"/>
                </a:solidFill>
              </a:rPr>
              <a:t>Bogotá </a:t>
            </a:r>
            <a:endParaRPr lang="es-AR" altLang="en-US" sz="1000" kern="0" dirty="0">
              <a:solidFill>
                <a:srgbClr val="004896"/>
              </a:solidFill>
            </a:endParaRPr>
          </a:p>
        </p:txBody>
      </p:sp>
      <p:sp>
        <p:nvSpPr>
          <p:cNvPr id="243" name="Text Box 104">
            <a:extLst>
              <a:ext uri="{FF2B5EF4-FFF2-40B4-BE49-F238E27FC236}">
                <a16:creationId xmlns:a16="http://schemas.microsoft.com/office/drawing/2014/main" id="{32172B13-9058-4F72-A09B-EE7921664CD1}"/>
              </a:ext>
            </a:extLst>
          </p:cNvPr>
          <p:cNvSpPr txBox="1">
            <a:spLocks noChangeArrowheads="1"/>
          </p:cNvSpPr>
          <p:nvPr/>
        </p:nvSpPr>
        <p:spPr bwMode="gray">
          <a:xfrm>
            <a:off x="4044220" y="2636788"/>
            <a:ext cx="33502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gn="r" fontAlgn="base">
              <a:lnSpc>
                <a:spcPct val="80000"/>
              </a:lnSpc>
              <a:spcBef>
                <a:spcPct val="0"/>
              </a:spcBef>
              <a:spcAft>
                <a:spcPct val="0"/>
              </a:spcAft>
              <a:buClrTx/>
              <a:buNone/>
              <a:defRPr/>
            </a:pPr>
            <a:r>
              <a:rPr lang="es-AR" altLang="en-US" sz="1000" b="1" kern="0" dirty="0">
                <a:solidFill>
                  <a:srgbClr val="004896"/>
                </a:solidFill>
              </a:rPr>
              <a:t>Quito</a:t>
            </a:r>
          </a:p>
        </p:txBody>
      </p:sp>
      <p:sp>
        <p:nvSpPr>
          <p:cNvPr id="244" name="Line 88">
            <a:extLst>
              <a:ext uri="{FF2B5EF4-FFF2-40B4-BE49-F238E27FC236}">
                <a16:creationId xmlns:a16="http://schemas.microsoft.com/office/drawing/2014/main" id="{F08C27A7-DDB7-4E32-BA56-85B85FF456A2}"/>
              </a:ext>
            </a:extLst>
          </p:cNvPr>
          <p:cNvSpPr>
            <a:spLocks noChangeShapeType="1"/>
          </p:cNvSpPr>
          <p:nvPr/>
        </p:nvSpPr>
        <p:spPr bwMode="auto">
          <a:xfrm>
            <a:off x="2881744" y="5144554"/>
            <a:ext cx="2073800" cy="0"/>
          </a:xfrm>
          <a:prstGeom prst="line">
            <a:avLst/>
          </a:prstGeom>
          <a:ln>
            <a:solidFill>
              <a:schemeClr val="tx1">
                <a:lumMod val="65000"/>
                <a:lumOff val="35000"/>
              </a:schemeClr>
            </a:solidFill>
          </a:ln>
          <a:extLst/>
        </p:spPr>
        <p:style>
          <a:lnRef idx="1">
            <a:schemeClr val="accent1"/>
          </a:lnRef>
          <a:fillRef idx="0">
            <a:schemeClr val="accent1"/>
          </a:fillRef>
          <a:effectRef idx="0">
            <a:schemeClr val="accent1"/>
          </a:effectRef>
          <a:fontRef idx="minor">
            <a:schemeClr val="tx1"/>
          </a:fontRef>
        </p:style>
        <p:txBody>
          <a:bodyPr/>
          <a:lstStyle/>
          <a:p>
            <a:pPr algn="r" fontAlgn="base">
              <a:spcBef>
                <a:spcPct val="0"/>
              </a:spcBef>
              <a:spcAft>
                <a:spcPct val="0"/>
              </a:spcAft>
              <a:defRPr/>
            </a:pPr>
            <a:endParaRPr lang="en-US" kern="0">
              <a:solidFill>
                <a:prstClr val="black"/>
              </a:solidFill>
              <a:latin typeface="Arial"/>
            </a:endParaRPr>
          </a:p>
        </p:txBody>
      </p:sp>
      <p:sp>
        <p:nvSpPr>
          <p:cNvPr id="245" name="Text Box 25">
            <a:extLst>
              <a:ext uri="{FF2B5EF4-FFF2-40B4-BE49-F238E27FC236}">
                <a16:creationId xmlns:a16="http://schemas.microsoft.com/office/drawing/2014/main" id="{56CE8D88-49FF-491B-979E-70D077C18F67}"/>
              </a:ext>
            </a:extLst>
          </p:cNvPr>
          <p:cNvSpPr txBox="1">
            <a:spLocks noChangeArrowheads="1"/>
          </p:cNvSpPr>
          <p:nvPr/>
        </p:nvSpPr>
        <p:spPr bwMode="gray">
          <a:xfrm>
            <a:off x="9344328" y="5945179"/>
            <a:ext cx="78226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gn="r" fontAlgn="base">
              <a:lnSpc>
                <a:spcPct val="80000"/>
              </a:lnSpc>
              <a:spcBef>
                <a:spcPct val="0"/>
              </a:spcBef>
              <a:spcAft>
                <a:spcPct val="0"/>
              </a:spcAft>
              <a:buClrTx/>
              <a:buNone/>
              <a:defRPr/>
            </a:pPr>
            <a:r>
              <a:rPr lang="es-AR" altLang="en-US" sz="1000" kern="0" dirty="0" err="1">
                <a:solidFill>
                  <a:prstClr val="black"/>
                </a:solidFill>
              </a:rPr>
              <a:t>Burzaco</a:t>
            </a:r>
            <a:r>
              <a:rPr lang="es-AR" altLang="en-US" sz="1000" kern="0" dirty="0">
                <a:solidFill>
                  <a:prstClr val="black"/>
                </a:solidFill>
              </a:rPr>
              <a:t> (PM)</a:t>
            </a:r>
          </a:p>
        </p:txBody>
      </p:sp>
      <p:sp>
        <p:nvSpPr>
          <p:cNvPr id="246" name="Text Box 25">
            <a:extLst>
              <a:ext uri="{FF2B5EF4-FFF2-40B4-BE49-F238E27FC236}">
                <a16:creationId xmlns:a16="http://schemas.microsoft.com/office/drawing/2014/main" id="{A47EF89E-D784-40F4-B1D0-4575D05B7AB8}"/>
              </a:ext>
            </a:extLst>
          </p:cNvPr>
          <p:cNvSpPr txBox="1">
            <a:spLocks noChangeArrowheads="1"/>
          </p:cNvSpPr>
          <p:nvPr/>
        </p:nvSpPr>
        <p:spPr bwMode="gray">
          <a:xfrm>
            <a:off x="9416462" y="4718717"/>
            <a:ext cx="71013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gn="r" fontAlgn="base">
              <a:lnSpc>
                <a:spcPct val="80000"/>
              </a:lnSpc>
              <a:spcBef>
                <a:spcPct val="0"/>
              </a:spcBef>
              <a:spcAft>
                <a:spcPct val="0"/>
              </a:spcAft>
              <a:buClrTx/>
              <a:buNone/>
              <a:defRPr/>
            </a:pPr>
            <a:r>
              <a:rPr lang="es-AR" altLang="en-US" sz="1000" kern="0" dirty="0" err="1">
                <a:solidFill>
                  <a:prstClr val="black"/>
                </a:solidFill>
              </a:rPr>
              <a:t>Pinhais</a:t>
            </a:r>
            <a:r>
              <a:rPr lang="es-AR" altLang="en-US" sz="1000" kern="0" dirty="0">
                <a:solidFill>
                  <a:prstClr val="black"/>
                </a:solidFill>
              </a:rPr>
              <a:t> (AP)</a:t>
            </a:r>
          </a:p>
        </p:txBody>
      </p:sp>
      <p:sp>
        <p:nvSpPr>
          <p:cNvPr id="247" name="Line 88">
            <a:extLst>
              <a:ext uri="{FF2B5EF4-FFF2-40B4-BE49-F238E27FC236}">
                <a16:creationId xmlns:a16="http://schemas.microsoft.com/office/drawing/2014/main" id="{4C65FE10-DB3A-4AD4-B1CC-0F8173F8EF1E}"/>
              </a:ext>
            </a:extLst>
          </p:cNvPr>
          <p:cNvSpPr>
            <a:spLocks noChangeShapeType="1"/>
          </p:cNvSpPr>
          <p:nvPr/>
        </p:nvSpPr>
        <p:spPr bwMode="auto">
          <a:xfrm>
            <a:off x="3524022" y="4893097"/>
            <a:ext cx="1455586" cy="0"/>
          </a:xfrm>
          <a:prstGeom prst="line">
            <a:avLst/>
          </a:prstGeom>
          <a:ln>
            <a:solidFill>
              <a:schemeClr val="tx1">
                <a:lumMod val="65000"/>
                <a:lumOff val="35000"/>
              </a:schemeClr>
            </a:solidFill>
          </a:ln>
          <a:extLst/>
        </p:spPr>
        <p:style>
          <a:lnRef idx="1">
            <a:schemeClr val="accent1"/>
          </a:lnRef>
          <a:fillRef idx="0">
            <a:schemeClr val="accent1"/>
          </a:fillRef>
          <a:effectRef idx="0">
            <a:schemeClr val="accent1"/>
          </a:effectRef>
          <a:fontRef idx="minor">
            <a:schemeClr val="tx1"/>
          </a:fontRef>
        </p:style>
        <p:txBody>
          <a:bodyPr/>
          <a:lstStyle/>
          <a:p>
            <a:pPr algn="r" fontAlgn="base">
              <a:spcBef>
                <a:spcPct val="0"/>
              </a:spcBef>
              <a:spcAft>
                <a:spcPct val="0"/>
              </a:spcAft>
              <a:defRPr/>
            </a:pPr>
            <a:endParaRPr lang="en-US" kern="0">
              <a:solidFill>
                <a:prstClr val="black"/>
              </a:solidFill>
              <a:latin typeface="Arial"/>
            </a:endParaRPr>
          </a:p>
        </p:txBody>
      </p:sp>
      <p:sp>
        <p:nvSpPr>
          <p:cNvPr id="248" name="Elipse 247">
            <a:extLst>
              <a:ext uri="{FF2B5EF4-FFF2-40B4-BE49-F238E27FC236}">
                <a16:creationId xmlns:a16="http://schemas.microsoft.com/office/drawing/2014/main" id="{45FE7FF4-7325-4D10-A76F-83F835B8D179}"/>
              </a:ext>
            </a:extLst>
          </p:cNvPr>
          <p:cNvSpPr/>
          <p:nvPr/>
        </p:nvSpPr>
        <p:spPr>
          <a:xfrm>
            <a:off x="4345225" y="1828056"/>
            <a:ext cx="134872" cy="134872"/>
          </a:xfrm>
          <a:prstGeom prst="ellipse">
            <a:avLst/>
          </a:prstGeom>
          <a:noFill/>
          <a:ln w="22225"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prstClr val="white"/>
              </a:solidFill>
              <a:latin typeface="Arial"/>
            </a:endParaRPr>
          </a:p>
        </p:txBody>
      </p:sp>
      <p:sp>
        <p:nvSpPr>
          <p:cNvPr id="249" name="Elipse 248">
            <a:extLst>
              <a:ext uri="{FF2B5EF4-FFF2-40B4-BE49-F238E27FC236}">
                <a16:creationId xmlns:a16="http://schemas.microsoft.com/office/drawing/2014/main" id="{2B77BCA1-5EDA-4A0F-8DFC-D67F06015532}"/>
              </a:ext>
            </a:extLst>
          </p:cNvPr>
          <p:cNvSpPr/>
          <p:nvPr/>
        </p:nvSpPr>
        <p:spPr>
          <a:xfrm>
            <a:off x="4321270" y="3295476"/>
            <a:ext cx="134872" cy="134872"/>
          </a:xfrm>
          <a:prstGeom prst="ellipse">
            <a:avLst/>
          </a:prstGeom>
          <a:noFill/>
          <a:ln w="22225"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250" name="Elipse 249">
            <a:extLst>
              <a:ext uri="{FF2B5EF4-FFF2-40B4-BE49-F238E27FC236}">
                <a16:creationId xmlns:a16="http://schemas.microsoft.com/office/drawing/2014/main" id="{80954B6E-215B-4246-BC6F-CF4AD66BAE60}"/>
              </a:ext>
            </a:extLst>
          </p:cNvPr>
          <p:cNvSpPr/>
          <p:nvPr/>
        </p:nvSpPr>
        <p:spPr>
          <a:xfrm>
            <a:off x="4440142" y="3496644"/>
            <a:ext cx="134872" cy="134872"/>
          </a:xfrm>
          <a:prstGeom prst="ellipse">
            <a:avLst/>
          </a:prstGeom>
          <a:noFill/>
          <a:ln w="22225"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251" name="Elipse 250">
            <a:extLst>
              <a:ext uri="{FF2B5EF4-FFF2-40B4-BE49-F238E27FC236}">
                <a16:creationId xmlns:a16="http://schemas.microsoft.com/office/drawing/2014/main" id="{D367010A-4E3D-44C4-B2CF-B07DC70EB40C}"/>
              </a:ext>
            </a:extLst>
          </p:cNvPr>
          <p:cNvSpPr/>
          <p:nvPr/>
        </p:nvSpPr>
        <p:spPr>
          <a:xfrm>
            <a:off x="4989181" y="4821729"/>
            <a:ext cx="134872" cy="134872"/>
          </a:xfrm>
          <a:prstGeom prst="ellipse">
            <a:avLst/>
          </a:prstGeom>
          <a:noFill/>
          <a:ln w="22225"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252" name="Elipse 251">
            <a:extLst>
              <a:ext uri="{FF2B5EF4-FFF2-40B4-BE49-F238E27FC236}">
                <a16:creationId xmlns:a16="http://schemas.microsoft.com/office/drawing/2014/main" id="{2B4908EA-8630-4545-B7B8-024D4EF2DEEE}"/>
              </a:ext>
            </a:extLst>
          </p:cNvPr>
          <p:cNvSpPr/>
          <p:nvPr/>
        </p:nvSpPr>
        <p:spPr>
          <a:xfrm>
            <a:off x="4965327" y="5068220"/>
            <a:ext cx="134872" cy="134872"/>
          </a:xfrm>
          <a:prstGeom prst="ellipse">
            <a:avLst/>
          </a:prstGeom>
          <a:noFill/>
          <a:ln w="22225"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253" name="Elipse 252">
            <a:extLst>
              <a:ext uri="{FF2B5EF4-FFF2-40B4-BE49-F238E27FC236}">
                <a16:creationId xmlns:a16="http://schemas.microsoft.com/office/drawing/2014/main" id="{68CABE1D-BA59-43CF-BB3C-4F2FCD55BBD6}"/>
              </a:ext>
            </a:extLst>
          </p:cNvPr>
          <p:cNvSpPr/>
          <p:nvPr/>
        </p:nvSpPr>
        <p:spPr>
          <a:xfrm>
            <a:off x="5742775" y="5306055"/>
            <a:ext cx="134872" cy="134872"/>
          </a:xfrm>
          <a:prstGeom prst="ellipse">
            <a:avLst/>
          </a:prstGeom>
          <a:noFill/>
          <a:ln w="22225"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254" name="Elipse 253">
            <a:extLst>
              <a:ext uri="{FF2B5EF4-FFF2-40B4-BE49-F238E27FC236}">
                <a16:creationId xmlns:a16="http://schemas.microsoft.com/office/drawing/2014/main" id="{0AEB4793-B37F-41B3-A54C-0A601E38B8BD}"/>
              </a:ext>
            </a:extLst>
          </p:cNvPr>
          <p:cNvSpPr/>
          <p:nvPr/>
        </p:nvSpPr>
        <p:spPr>
          <a:xfrm>
            <a:off x="5877830" y="5322965"/>
            <a:ext cx="134872" cy="134872"/>
          </a:xfrm>
          <a:prstGeom prst="ellipse">
            <a:avLst/>
          </a:prstGeom>
          <a:noFill/>
          <a:ln w="22225"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grpSp>
        <p:nvGrpSpPr>
          <p:cNvPr id="255" name="Grupo 254">
            <a:extLst>
              <a:ext uri="{FF2B5EF4-FFF2-40B4-BE49-F238E27FC236}">
                <a16:creationId xmlns:a16="http://schemas.microsoft.com/office/drawing/2014/main" id="{B3D72C90-7702-4E34-BC4B-B098AFF5DE1E}"/>
              </a:ext>
            </a:extLst>
          </p:cNvPr>
          <p:cNvGrpSpPr/>
          <p:nvPr/>
        </p:nvGrpSpPr>
        <p:grpSpPr>
          <a:xfrm>
            <a:off x="2297122" y="1898149"/>
            <a:ext cx="2040171" cy="131195"/>
            <a:chOff x="2086971" y="1754934"/>
            <a:chExt cx="868085" cy="55823"/>
          </a:xfrm>
        </p:grpSpPr>
        <p:cxnSp>
          <p:nvCxnSpPr>
            <p:cNvPr id="256" name="Conector reto 270">
              <a:extLst>
                <a:ext uri="{FF2B5EF4-FFF2-40B4-BE49-F238E27FC236}">
                  <a16:creationId xmlns:a16="http://schemas.microsoft.com/office/drawing/2014/main" id="{76E2B805-FDE6-4EBE-97AB-1AD6BABD65C5}"/>
                </a:ext>
              </a:extLst>
            </p:cNvPr>
            <p:cNvCxnSpPr/>
            <p:nvPr/>
          </p:nvCxnSpPr>
          <p:spPr>
            <a:xfrm>
              <a:off x="2087880" y="1757238"/>
              <a:ext cx="867176"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57" name="Conector reto 273">
              <a:extLst>
                <a:ext uri="{FF2B5EF4-FFF2-40B4-BE49-F238E27FC236}">
                  <a16:creationId xmlns:a16="http://schemas.microsoft.com/office/drawing/2014/main" id="{BD4E78CE-45A2-4886-87C8-EAB3C0B32126}"/>
                </a:ext>
              </a:extLst>
            </p:cNvPr>
            <p:cNvCxnSpPr/>
            <p:nvPr/>
          </p:nvCxnSpPr>
          <p:spPr>
            <a:xfrm>
              <a:off x="2086971" y="1754934"/>
              <a:ext cx="0" cy="5582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cxnSp>
        <p:nvCxnSpPr>
          <p:cNvPr id="258" name="Conector reto 280">
            <a:extLst>
              <a:ext uri="{FF2B5EF4-FFF2-40B4-BE49-F238E27FC236}">
                <a16:creationId xmlns:a16="http://schemas.microsoft.com/office/drawing/2014/main" id="{DE5214FB-B740-4EB1-8D0F-F65FB835D7AE}"/>
              </a:ext>
            </a:extLst>
          </p:cNvPr>
          <p:cNvCxnSpPr/>
          <p:nvPr/>
        </p:nvCxnSpPr>
        <p:spPr>
          <a:xfrm>
            <a:off x="2629196" y="3362912"/>
            <a:ext cx="1693357"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59" name="Conector reto 286">
            <a:extLst>
              <a:ext uri="{FF2B5EF4-FFF2-40B4-BE49-F238E27FC236}">
                <a16:creationId xmlns:a16="http://schemas.microsoft.com/office/drawing/2014/main" id="{A14732D8-BD07-4657-8D1C-850167D95E26}"/>
              </a:ext>
            </a:extLst>
          </p:cNvPr>
          <p:cNvCxnSpPr/>
          <p:nvPr/>
        </p:nvCxnSpPr>
        <p:spPr>
          <a:xfrm>
            <a:off x="3230086" y="3563604"/>
            <a:ext cx="120477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260" name="Grupo 259">
            <a:extLst>
              <a:ext uri="{FF2B5EF4-FFF2-40B4-BE49-F238E27FC236}">
                <a16:creationId xmlns:a16="http://schemas.microsoft.com/office/drawing/2014/main" id="{4D510734-B170-4EDF-AD98-12E832C8A82E}"/>
              </a:ext>
            </a:extLst>
          </p:cNvPr>
          <p:cNvGrpSpPr/>
          <p:nvPr/>
        </p:nvGrpSpPr>
        <p:grpSpPr>
          <a:xfrm>
            <a:off x="5807174" y="5432129"/>
            <a:ext cx="2979780" cy="752648"/>
            <a:chOff x="3903291" y="5484525"/>
            <a:chExt cx="3149436" cy="752648"/>
          </a:xfrm>
        </p:grpSpPr>
        <p:sp>
          <p:nvSpPr>
            <p:cNvPr id="261" name="Line 97">
              <a:extLst>
                <a:ext uri="{FF2B5EF4-FFF2-40B4-BE49-F238E27FC236}">
                  <a16:creationId xmlns:a16="http://schemas.microsoft.com/office/drawing/2014/main" id="{77995472-207E-46BF-A76D-DAAE5DC475C6}"/>
                </a:ext>
              </a:extLst>
            </p:cNvPr>
            <p:cNvSpPr>
              <a:spLocks noChangeShapeType="1"/>
            </p:cNvSpPr>
            <p:nvPr/>
          </p:nvSpPr>
          <p:spPr bwMode="auto">
            <a:xfrm>
              <a:off x="3905625" y="5484525"/>
              <a:ext cx="0" cy="752152"/>
            </a:xfrm>
            <a:prstGeom prst="line">
              <a:avLst/>
            </a:prstGeom>
            <a:ln>
              <a:solidFill>
                <a:schemeClr val="tx1">
                  <a:lumMod val="65000"/>
                  <a:lumOff val="35000"/>
                </a:schemeClr>
              </a:solidFill>
            </a:ln>
            <a:extLst/>
          </p:spPr>
          <p:style>
            <a:lnRef idx="1">
              <a:schemeClr val="accent1"/>
            </a:lnRef>
            <a:fillRef idx="0">
              <a:schemeClr val="accent1"/>
            </a:fillRef>
            <a:effectRef idx="0">
              <a:schemeClr val="accent1"/>
            </a:effectRef>
            <a:fontRef idx="minor">
              <a:schemeClr val="tx1"/>
            </a:fontRef>
          </p:style>
          <p:txBody>
            <a:bodyPr/>
            <a:lstStyle/>
            <a:p>
              <a:pPr algn="r" fontAlgn="base">
                <a:spcBef>
                  <a:spcPct val="0"/>
                </a:spcBef>
                <a:spcAft>
                  <a:spcPct val="0"/>
                </a:spcAft>
                <a:defRPr/>
              </a:pPr>
              <a:endParaRPr lang="en-US" kern="0">
                <a:solidFill>
                  <a:prstClr val="black"/>
                </a:solidFill>
                <a:latin typeface="Arial"/>
              </a:endParaRPr>
            </a:p>
          </p:txBody>
        </p:sp>
        <p:cxnSp>
          <p:nvCxnSpPr>
            <p:cNvPr id="262" name="Conector reto 294">
              <a:extLst>
                <a:ext uri="{FF2B5EF4-FFF2-40B4-BE49-F238E27FC236}">
                  <a16:creationId xmlns:a16="http://schemas.microsoft.com/office/drawing/2014/main" id="{B04F1BAB-12D4-4BC7-8B1E-86EE9F9C900F}"/>
                </a:ext>
              </a:extLst>
            </p:cNvPr>
            <p:cNvCxnSpPr/>
            <p:nvPr/>
          </p:nvCxnSpPr>
          <p:spPr>
            <a:xfrm>
              <a:off x="3903291" y="6237173"/>
              <a:ext cx="3149436"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263" name="Grupo 262">
            <a:extLst>
              <a:ext uri="{FF2B5EF4-FFF2-40B4-BE49-F238E27FC236}">
                <a16:creationId xmlns:a16="http://schemas.microsoft.com/office/drawing/2014/main" id="{EA06BBEC-B05F-442E-9E81-54804156FE7D}"/>
              </a:ext>
            </a:extLst>
          </p:cNvPr>
          <p:cNvGrpSpPr/>
          <p:nvPr/>
        </p:nvGrpSpPr>
        <p:grpSpPr>
          <a:xfrm>
            <a:off x="5951190" y="5454930"/>
            <a:ext cx="3344416" cy="560330"/>
            <a:chOff x="3903291" y="5683171"/>
            <a:chExt cx="3540863" cy="560330"/>
          </a:xfrm>
        </p:grpSpPr>
        <p:sp>
          <p:nvSpPr>
            <p:cNvPr id="264" name="Line 97">
              <a:extLst>
                <a:ext uri="{FF2B5EF4-FFF2-40B4-BE49-F238E27FC236}">
                  <a16:creationId xmlns:a16="http://schemas.microsoft.com/office/drawing/2014/main" id="{8361D96A-13B8-4FA0-81D5-0E7E5664B3E3}"/>
                </a:ext>
              </a:extLst>
            </p:cNvPr>
            <p:cNvSpPr>
              <a:spLocks noChangeShapeType="1"/>
            </p:cNvSpPr>
            <p:nvPr/>
          </p:nvSpPr>
          <p:spPr bwMode="auto">
            <a:xfrm>
              <a:off x="3905626" y="5683171"/>
              <a:ext cx="0" cy="560330"/>
            </a:xfrm>
            <a:prstGeom prst="line">
              <a:avLst/>
            </a:prstGeom>
            <a:ln>
              <a:solidFill>
                <a:schemeClr val="tx1">
                  <a:lumMod val="65000"/>
                  <a:lumOff val="35000"/>
                </a:schemeClr>
              </a:solidFill>
            </a:ln>
            <a:extLst/>
          </p:spPr>
          <p:style>
            <a:lnRef idx="1">
              <a:schemeClr val="accent1"/>
            </a:lnRef>
            <a:fillRef idx="0">
              <a:schemeClr val="accent1"/>
            </a:fillRef>
            <a:effectRef idx="0">
              <a:schemeClr val="accent1"/>
            </a:effectRef>
            <a:fontRef idx="minor">
              <a:schemeClr val="tx1"/>
            </a:fontRef>
          </p:style>
          <p:txBody>
            <a:bodyPr/>
            <a:lstStyle/>
            <a:p>
              <a:pPr algn="r" fontAlgn="base">
                <a:spcBef>
                  <a:spcPct val="0"/>
                </a:spcBef>
                <a:spcAft>
                  <a:spcPct val="0"/>
                </a:spcAft>
                <a:defRPr/>
              </a:pPr>
              <a:endParaRPr lang="en-US" kern="0">
                <a:solidFill>
                  <a:prstClr val="black"/>
                </a:solidFill>
                <a:latin typeface="Arial"/>
              </a:endParaRPr>
            </a:p>
          </p:txBody>
        </p:sp>
        <p:cxnSp>
          <p:nvCxnSpPr>
            <p:cNvPr id="265" name="Conector reto 298">
              <a:extLst>
                <a:ext uri="{FF2B5EF4-FFF2-40B4-BE49-F238E27FC236}">
                  <a16:creationId xmlns:a16="http://schemas.microsoft.com/office/drawing/2014/main" id="{E714F846-23DC-4659-81C2-D898ACCD0F13}"/>
                </a:ext>
              </a:extLst>
            </p:cNvPr>
            <p:cNvCxnSpPr/>
            <p:nvPr/>
          </p:nvCxnSpPr>
          <p:spPr>
            <a:xfrm>
              <a:off x="3903291" y="6240585"/>
              <a:ext cx="3540863"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266" name="Grupo 265">
            <a:extLst>
              <a:ext uri="{FF2B5EF4-FFF2-40B4-BE49-F238E27FC236}">
                <a16:creationId xmlns:a16="http://schemas.microsoft.com/office/drawing/2014/main" id="{0EEBDEE1-BDA8-42E3-8F7E-F61368243D3C}"/>
              </a:ext>
            </a:extLst>
          </p:cNvPr>
          <p:cNvGrpSpPr/>
          <p:nvPr/>
        </p:nvGrpSpPr>
        <p:grpSpPr>
          <a:xfrm>
            <a:off x="7689123" y="2936574"/>
            <a:ext cx="1554865" cy="134872"/>
            <a:chOff x="6165916" y="2795653"/>
            <a:chExt cx="1554865" cy="134872"/>
          </a:xfrm>
        </p:grpSpPr>
        <p:sp>
          <p:nvSpPr>
            <p:cNvPr id="267" name="Elipse 266">
              <a:extLst>
                <a:ext uri="{FF2B5EF4-FFF2-40B4-BE49-F238E27FC236}">
                  <a16:creationId xmlns:a16="http://schemas.microsoft.com/office/drawing/2014/main" id="{792AD0FB-44F0-4468-ABDC-75D1499CEEA9}"/>
                </a:ext>
              </a:extLst>
            </p:cNvPr>
            <p:cNvSpPr/>
            <p:nvPr/>
          </p:nvSpPr>
          <p:spPr>
            <a:xfrm>
              <a:off x="6165916" y="2795653"/>
              <a:ext cx="134872" cy="134872"/>
            </a:xfrm>
            <a:prstGeom prst="ellipse">
              <a:avLst/>
            </a:prstGeom>
            <a:noFill/>
            <a:ln w="22225" cap="sq">
              <a:solidFill>
                <a:srgbClr val="595959"/>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cxnSp>
          <p:nvCxnSpPr>
            <p:cNvPr id="268" name="Conector reto 356">
              <a:extLst>
                <a:ext uri="{FF2B5EF4-FFF2-40B4-BE49-F238E27FC236}">
                  <a16:creationId xmlns:a16="http://schemas.microsoft.com/office/drawing/2014/main" id="{9C4A0773-CAC7-4A40-A4A7-55CF82C00C77}"/>
                </a:ext>
              </a:extLst>
            </p:cNvPr>
            <p:cNvCxnSpPr/>
            <p:nvPr/>
          </p:nvCxnSpPr>
          <p:spPr>
            <a:xfrm>
              <a:off x="6300788" y="2858085"/>
              <a:ext cx="1419993" cy="0"/>
            </a:xfrm>
            <a:prstGeom prst="line">
              <a:avLst/>
            </a:prstGeom>
            <a:ln>
              <a:solidFill>
                <a:srgbClr val="595959"/>
              </a:solidFill>
            </a:ln>
          </p:spPr>
          <p:style>
            <a:lnRef idx="1">
              <a:schemeClr val="accent1"/>
            </a:lnRef>
            <a:fillRef idx="0">
              <a:schemeClr val="accent1"/>
            </a:fillRef>
            <a:effectRef idx="0">
              <a:schemeClr val="accent1"/>
            </a:effectRef>
            <a:fontRef idx="minor">
              <a:schemeClr val="tx1"/>
            </a:fontRef>
          </p:style>
        </p:cxnSp>
      </p:grpSp>
      <p:sp>
        <p:nvSpPr>
          <p:cNvPr id="269" name="Elipse 268">
            <a:extLst>
              <a:ext uri="{FF2B5EF4-FFF2-40B4-BE49-F238E27FC236}">
                <a16:creationId xmlns:a16="http://schemas.microsoft.com/office/drawing/2014/main" id="{7D94E852-F467-4704-B356-F67EA32B57BB}"/>
              </a:ext>
            </a:extLst>
          </p:cNvPr>
          <p:cNvSpPr/>
          <p:nvPr/>
        </p:nvSpPr>
        <p:spPr>
          <a:xfrm>
            <a:off x="7363903" y="3413915"/>
            <a:ext cx="134872" cy="134872"/>
          </a:xfrm>
          <a:prstGeom prst="ellipse">
            <a:avLst/>
          </a:prstGeom>
          <a:noFill/>
          <a:ln w="22225"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grpSp>
        <p:nvGrpSpPr>
          <p:cNvPr id="270" name="Grupo 269">
            <a:extLst>
              <a:ext uri="{FF2B5EF4-FFF2-40B4-BE49-F238E27FC236}">
                <a16:creationId xmlns:a16="http://schemas.microsoft.com/office/drawing/2014/main" id="{A1494D40-799C-4064-B0B9-BE91ADBDA1B0}"/>
              </a:ext>
            </a:extLst>
          </p:cNvPr>
          <p:cNvGrpSpPr/>
          <p:nvPr/>
        </p:nvGrpSpPr>
        <p:grpSpPr>
          <a:xfrm>
            <a:off x="7435091" y="3350342"/>
            <a:ext cx="1465090" cy="54387"/>
            <a:chOff x="2086971" y="1759909"/>
            <a:chExt cx="1465090" cy="54387"/>
          </a:xfrm>
        </p:grpSpPr>
        <p:cxnSp>
          <p:nvCxnSpPr>
            <p:cNvPr id="271" name="Conector reto 417">
              <a:extLst>
                <a:ext uri="{FF2B5EF4-FFF2-40B4-BE49-F238E27FC236}">
                  <a16:creationId xmlns:a16="http://schemas.microsoft.com/office/drawing/2014/main" id="{069F9959-4A4B-4453-90F2-E74820B50E3C}"/>
                </a:ext>
              </a:extLst>
            </p:cNvPr>
            <p:cNvCxnSpPr/>
            <p:nvPr/>
          </p:nvCxnSpPr>
          <p:spPr>
            <a:xfrm>
              <a:off x="2087856" y="1763912"/>
              <a:ext cx="146420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72" name="Conector reto 418">
              <a:extLst>
                <a:ext uri="{FF2B5EF4-FFF2-40B4-BE49-F238E27FC236}">
                  <a16:creationId xmlns:a16="http://schemas.microsoft.com/office/drawing/2014/main" id="{3F821E5C-FAD9-42C9-8A30-81C4A4067A6B}"/>
                </a:ext>
              </a:extLst>
            </p:cNvPr>
            <p:cNvCxnSpPr/>
            <p:nvPr/>
          </p:nvCxnSpPr>
          <p:spPr>
            <a:xfrm>
              <a:off x="2086971" y="1759909"/>
              <a:ext cx="0" cy="54387"/>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273" name="Elipse 272">
            <a:extLst>
              <a:ext uri="{FF2B5EF4-FFF2-40B4-BE49-F238E27FC236}">
                <a16:creationId xmlns:a16="http://schemas.microsoft.com/office/drawing/2014/main" id="{C86DE102-6259-4690-B133-3B6F83C0854A}"/>
              </a:ext>
            </a:extLst>
          </p:cNvPr>
          <p:cNvSpPr/>
          <p:nvPr/>
        </p:nvSpPr>
        <p:spPr>
          <a:xfrm>
            <a:off x="4151644" y="2487756"/>
            <a:ext cx="134872" cy="134872"/>
          </a:xfrm>
          <a:prstGeom prst="ellipse">
            <a:avLst/>
          </a:prstGeom>
          <a:solidFill>
            <a:schemeClr val="bg2"/>
          </a:solidFill>
          <a:ln w="222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274" name="Elipse 273">
            <a:extLst>
              <a:ext uri="{FF2B5EF4-FFF2-40B4-BE49-F238E27FC236}">
                <a16:creationId xmlns:a16="http://schemas.microsoft.com/office/drawing/2014/main" id="{7BF60E8E-5E22-4CB8-9CD6-047C97A7BCC6}"/>
              </a:ext>
            </a:extLst>
          </p:cNvPr>
          <p:cNvSpPr/>
          <p:nvPr/>
        </p:nvSpPr>
        <p:spPr>
          <a:xfrm>
            <a:off x="4517404" y="2058748"/>
            <a:ext cx="134872" cy="134872"/>
          </a:xfrm>
          <a:prstGeom prst="ellipse">
            <a:avLst/>
          </a:prstGeom>
          <a:solidFill>
            <a:schemeClr val="bg2"/>
          </a:solidFill>
          <a:ln w="222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275" name="Elipse 274">
            <a:extLst>
              <a:ext uri="{FF2B5EF4-FFF2-40B4-BE49-F238E27FC236}">
                <a16:creationId xmlns:a16="http://schemas.microsoft.com/office/drawing/2014/main" id="{B7ECB3F9-4DCB-4986-BD69-214B47371286}"/>
              </a:ext>
            </a:extLst>
          </p:cNvPr>
          <p:cNvSpPr/>
          <p:nvPr/>
        </p:nvSpPr>
        <p:spPr>
          <a:xfrm>
            <a:off x="5476574" y="3814396"/>
            <a:ext cx="134872" cy="134872"/>
          </a:xfrm>
          <a:prstGeom prst="ellipse">
            <a:avLst/>
          </a:prstGeom>
          <a:solidFill>
            <a:schemeClr val="bg2"/>
          </a:solidFill>
          <a:ln w="222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276" name="Elipse 275">
            <a:extLst>
              <a:ext uri="{FF2B5EF4-FFF2-40B4-BE49-F238E27FC236}">
                <a16:creationId xmlns:a16="http://schemas.microsoft.com/office/drawing/2014/main" id="{E80DD9BE-D4CE-4B40-96AD-C2AFAB1F2AE9}"/>
              </a:ext>
            </a:extLst>
          </p:cNvPr>
          <p:cNvSpPr/>
          <p:nvPr/>
        </p:nvSpPr>
        <p:spPr>
          <a:xfrm>
            <a:off x="5951190" y="4363036"/>
            <a:ext cx="134872" cy="134872"/>
          </a:xfrm>
          <a:prstGeom prst="ellipse">
            <a:avLst/>
          </a:prstGeom>
          <a:solidFill>
            <a:schemeClr val="bg2"/>
          </a:solidFill>
          <a:ln w="222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277" name="Elipse 276">
            <a:extLst>
              <a:ext uri="{FF2B5EF4-FFF2-40B4-BE49-F238E27FC236}">
                <a16:creationId xmlns:a16="http://schemas.microsoft.com/office/drawing/2014/main" id="{CE6C3573-B8A4-435A-BEA8-060A67BBED0B}"/>
              </a:ext>
            </a:extLst>
          </p:cNvPr>
          <p:cNvSpPr/>
          <p:nvPr/>
        </p:nvSpPr>
        <p:spPr>
          <a:xfrm>
            <a:off x="4956316" y="5167708"/>
            <a:ext cx="134872" cy="134872"/>
          </a:xfrm>
          <a:prstGeom prst="ellipse">
            <a:avLst/>
          </a:prstGeom>
          <a:solidFill>
            <a:schemeClr val="bg2"/>
          </a:solidFill>
          <a:ln w="222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278" name="Elipse 277">
            <a:extLst>
              <a:ext uri="{FF2B5EF4-FFF2-40B4-BE49-F238E27FC236}">
                <a16:creationId xmlns:a16="http://schemas.microsoft.com/office/drawing/2014/main" id="{95122F5A-D9E3-40D2-8185-DEF241C7047E}"/>
              </a:ext>
            </a:extLst>
          </p:cNvPr>
          <p:cNvSpPr/>
          <p:nvPr/>
        </p:nvSpPr>
        <p:spPr>
          <a:xfrm>
            <a:off x="5998732" y="5286580"/>
            <a:ext cx="134872" cy="134872"/>
          </a:xfrm>
          <a:prstGeom prst="ellipse">
            <a:avLst/>
          </a:prstGeom>
          <a:solidFill>
            <a:schemeClr val="bg2"/>
          </a:solidFill>
          <a:ln w="222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279" name="Text Box 14">
            <a:extLst>
              <a:ext uri="{FF2B5EF4-FFF2-40B4-BE49-F238E27FC236}">
                <a16:creationId xmlns:a16="http://schemas.microsoft.com/office/drawing/2014/main" id="{ECDCD83F-50E5-4744-904C-15947F58CC38}"/>
              </a:ext>
            </a:extLst>
          </p:cNvPr>
          <p:cNvSpPr txBox="1">
            <a:spLocks noChangeArrowheads="1"/>
          </p:cNvSpPr>
          <p:nvPr/>
        </p:nvSpPr>
        <p:spPr bwMode="auto">
          <a:xfrm>
            <a:off x="3173317" y="6137331"/>
            <a:ext cx="117475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eaLnBrk="1" fontAlgn="base" hangingPunct="1">
              <a:lnSpc>
                <a:spcPct val="90000"/>
              </a:lnSpc>
              <a:spcBef>
                <a:spcPct val="0"/>
              </a:spcBef>
              <a:spcAft>
                <a:spcPct val="0"/>
              </a:spcAft>
              <a:buClrTx/>
              <a:buNone/>
              <a:defRPr/>
            </a:pPr>
            <a:r>
              <a:rPr lang="pt-BR" altLang="en-US" sz="1200" b="1" kern="0" dirty="0" err="1">
                <a:solidFill>
                  <a:prstClr val="black"/>
                </a:solidFill>
                <a:ea typeface="ＭＳ Ｐゴシック" pitchFamily="34" charset="-128"/>
              </a:rPr>
              <a:t>Production</a:t>
            </a:r>
            <a:r>
              <a:rPr lang="pt-BR" altLang="en-US" sz="1200" b="1" kern="0" dirty="0">
                <a:solidFill>
                  <a:prstClr val="black"/>
                </a:solidFill>
                <a:ea typeface="ＭＳ Ｐゴシック" pitchFamily="34" charset="-128"/>
              </a:rPr>
              <a:t> Sites</a:t>
            </a:r>
          </a:p>
        </p:txBody>
      </p:sp>
      <p:sp>
        <p:nvSpPr>
          <p:cNvPr id="280" name="Text Box 14">
            <a:extLst>
              <a:ext uri="{FF2B5EF4-FFF2-40B4-BE49-F238E27FC236}">
                <a16:creationId xmlns:a16="http://schemas.microsoft.com/office/drawing/2014/main" id="{57F2D4AF-F2E3-4CC5-BB53-3E35605A8D3E}"/>
              </a:ext>
            </a:extLst>
          </p:cNvPr>
          <p:cNvSpPr txBox="1">
            <a:spLocks noChangeArrowheads="1"/>
          </p:cNvSpPr>
          <p:nvPr/>
        </p:nvSpPr>
        <p:spPr bwMode="auto">
          <a:xfrm>
            <a:off x="2166780" y="6137331"/>
            <a:ext cx="837138"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eaLnBrk="1" fontAlgn="base" hangingPunct="1">
              <a:lnSpc>
                <a:spcPct val="90000"/>
              </a:lnSpc>
              <a:spcBef>
                <a:spcPct val="0"/>
              </a:spcBef>
              <a:spcAft>
                <a:spcPct val="0"/>
              </a:spcAft>
              <a:buClrTx/>
              <a:buNone/>
              <a:defRPr/>
            </a:pPr>
            <a:r>
              <a:rPr lang="pt-BR" altLang="en-US" sz="1200" b="1" kern="0" dirty="0">
                <a:solidFill>
                  <a:prstClr val="black"/>
                </a:solidFill>
                <a:ea typeface="ＭＳ Ｐゴシック" pitchFamily="34" charset="-128"/>
              </a:rPr>
              <a:t>Sales offices</a:t>
            </a:r>
          </a:p>
        </p:txBody>
      </p:sp>
      <p:sp>
        <p:nvSpPr>
          <p:cNvPr id="281" name="Elipse 280">
            <a:extLst>
              <a:ext uri="{FF2B5EF4-FFF2-40B4-BE49-F238E27FC236}">
                <a16:creationId xmlns:a16="http://schemas.microsoft.com/office/drawing/2014/main" id="{E7B79B03-2EC7-499D-9D31-43FD30CC5ABE}"/>
              </a:ext>
            </a:extLst>
          </p:cNvPr>
          <p:cNvSpPr/>
          <p:nvPr/>
        </p:nvSpPr>
        <p:spPr>
          <a:xfrm>
            <a:off x="2050509" y="6282261"/>
            <a:ext cx="134872" cy="134872"/>
          </a:xfrm>
          <a:prstGeom prst="ellipse">
            <a:avLst/>
          </a:prstGeom>
          <a:solidFill>
            <a:schemeClr val="bg2"/>
          </a:solidFill>
          <a:ln w="22225" cap="sq">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282" name="Elipse 281">
            <a:extLst>
              <a:ext uri="{FF2B5EF4-FFF2-40B4-BE49-F238E27FC236}">
                <a16:creationId xmlns:a16="http://schemas.microsoft.com/office/drawing/2014/main" id="{93D69813-D79D-4985-8DB2-671172BBD266}"/>
              </a:ext>
            </a:extLst>
          </p:cNvPr>
          <p:cNvSpPr/>
          <p:nvPr/>
        </p:nvSpPr>
        <p:spPr>
          <a:xfrm>
            <a:off x="6148616" y="5135108"/>
            <a:ext cx="134872" cy="134872"/>
          </a:xfrm>
          <a:prstGeom prst="ellipse">
            <a:avLst/>
          </a:prstGeom>
          <a:solidFill>
            <a:schemeClr val="accent4"/>
          </a:solidFill>
          <a:ln w="222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283" name="Elipse 282">
            <a:extLst>
              <a:ext uri="{FF2B5EF4-FFF2-40B4-BE49-F238E27FC236}">
                <a16:creationId xmlns:a16="http://schemas.microsoft.com/office/drawing/2014/main" id="{9AD56F3E-AFAF-41FA-902C-82C905AB56E3}"/>
              </a:ext>
            </a:extLst>
          </p:cNvPr>
          <p:cNvSpPr/>
          <p:nvPr/>
        </p:nvSpPr>
        <p:spPr>
          <a:xfrm>
            <a:off x="3047205" y="6282261"/>
            <a:ext cx="134872" cy="134872"/>
          </a:xfrm>
          <a:prstGeom prst="ellipse">
            <a:avLst/>
          </a:prstGeom>
          <a:solidFill>
            <a:schemeClr val="bg1">
              <a:lumMod val="95000"/>
            </a:schemeClr>
          </a:solidFill>
          <a:ln w="22225"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grpSp>
        <p:nvGrpSpPr>
          <p:cNvPr id="284" name="Grupo 283">
            <a:extLst>
              <a:ext uri="{FF2B5EF4-FFF2-40B4-BE49-F238E27FC236}">
                <a16:creationId xmlns:a16="http://schemas.microsoft.com/office/drawing/2014/main" id="{36B8A33D-39B6-4C8F-AE13-A58173AA759A}"/>
              </a:ext>
            </a:extLst>
          </p:cNvPr>
          <p:cNvGrpSpPr/>
          <p:nvPr/>
        </p:nvGrpSpPr>
        <p:grpSpPr>
          <a:xfrm>
            <a:off x="6592462" y="4407711"/>
            <a:ext cx="2769646" cy="371714"/>
            <a:chOff x="5069256" y="4266790"/>
            <a:chExt cx="2769646" cy="371714"/>
          </a:xfrm>
        </p:grpSpPr>
        <p:grpSp>
          <p:nvGrpSpPr>
            <p:cNvPr id="285" name="Grupo 284">
              <a:extLst>
                <a:ext uri="{FF2B5EF4-FFF2-40B4-BE49-F238E27FC236}">
                  <a16:creationId xmlns:a16="http://schemas.microsoft.com/office/drawing/2014/main" id="{65D7C846-2D76-4271-A96E-09FE25B0BE86}"/>
                </a:ext>
              </a:extLst>
            </p:cNvPr>
            <p:cNvGrpSpPr/>
            <p:nvPr/>
          </p:nvGrpSpPr>
          <p:grpSpPr>
            <a:xfrm flipV="1">
              <a:off x="5130177" y="4401662"/>
              <a:ext cx="2708725" cy="236842"/>
              <a:chOff x="1905646" y="1721755"/>
              <a:chExt cx="2708725" cy="236842"/>
            </a:xfrm>
          </p:grpSpPr>
          <p:cxnSp>
            <p:nvCxnSpPr>
              <p:cNvPr id="287" name="Conector reto 401">
                <a:extLst>
                  <a:ext uri="{FF2B5EF4-FFF2-40B4-BE49-F238E27FC236}">
                    <a16:creationId xmlns:a16="http://schemas.microsoft.com/office/drawing/2014/main" id="{613A1990-24CC-4AE4-8E13-A98109064929}"/>
                  </a:ext>
                </a:extLst>
              </p:cNvPr>
              <p:cNvCxnSpPr/>
              <p:nvPr/>
            </p:nvCxnSpPr>
            <p:spPr>
              <a:xfrm flipV="1">
                <a:off x="1905646" y="1723990"/>
                <a:ext cx="2708725"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88" name="Conector reto 402">
                <a:extLst>
                  <a:ext uri="{FF2B5EF4-FFF2-40B4-BE49-F238E27FC236}">
                    <a16:creationId xmlns:a16="http://schemas.microsoft.com/office/drawing/2014/main" id="{9A047E84-277F-461C-A35A-EBC3721810BD}"/>
                  </a:ext>
                </a:extLst>
              </p:cNvPr>
              <p:cNvCxnSpPr>
                <a:endCxn id="286" idx="4"/>
              </p:cNvCxnSpPr>
              <p:nvPr/>
            </p:nvCxnSpPr>
            <p:spPr>
              <a:xfrm>
                <a:off x="1908171" y="1721755"/>
                <a:ext cx="3990" cy="236842"/>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286" name="Elipse 285">
              <a:extLst>
                <a:ext uri="{FF2B5EF4-FFF2-40B4-BE49-F238E27FC236}">
                  <a16:creationId xmlns:a16="http://schemas.microsoft.com/office/drawing/2014/main" id="{BCFFA5A4-515E-4CF6-8D86-13F863D69A99}"/>
                </a:ext>
              </a:extLst>
            </p:cNvPr>
            <p:cNvSpPr/>
            <p:nvPr/>
          </p:nvSpPr>
          <p:spPr>
            <a:xfrm>
              <a:off x="5069256" y="4266790"/>
              <a:ext cx="134872" cy="134872"/>
            </a:xfrm>
            <a:prstGeom prst="ellipse">
              <a:avLst/>
            </a:prstGeom>
            <a:noFill/>
            <a:ln w="22225"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latin typeface="Arial"/>
              </a:endParaRPr>
            </a:p>
          </p:txBody>
        </p:sp>
      </p:grpSp>
      <p:cxnSp>
        <p:nvCxnSpPr>
          <p:cNvPr id="289" name="Conector reto 6">
            <a:extLst>
              <a:ext uri="{FF2B5EF4-FFF2-40B4-BE49-F238E27FC236}">
                <a16:creationId xmlns:a16="http://schemas.microsoft.com/office/drawing/2014/main" id="{D02E02E8-AEE4-4176-A411-4A2966327997}"/>
              </a:ext>
            </a:extLst>
          </p:cNvPr>
          <p:cNvCxnSpPr/>
          <p:nvPr/>
        </p:nvCxnSpPr>
        <p:spPr>
          <a:xfrm>
            <a:off x="8055491" y="3595321"/>
            <a:ext cx="0" cy="1090724"/>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90" name="Conector reto 175">
            <a:extLst>
              <a:ext uri="{FF2B5EF4-FFF2-40B4-BE49-F238E27FC236}">
                <a16:creationId xmlns:a16="http://schemas.microsoft.com/office/drawing/2014/main" id="{013A99F2-24F1-4E75-91DD-9CD57FB41661}"/>
              </a:ext>
            </a:extLst>
          </p:cNvPr>
          <p:cNvCxnSpPr/>
          <p:nvPr/>
        </p:nvCxnSpPr>
        <p:spPr>
          <a:xfrm>
            <a:off x="7067462" y="4289587"/>
            <a:ext cx="984060" cy="0"/>
          </a:xfrm>
          <a:prstGeom prst="line">
            <a:avLst/>
          </a:prstGeom>
          <a:ln>
            <a:solidFill>
              <a:srgbClr val="595959"/>
            </a:solidFill>
          </a:ln>
        </p:spPr>
        <p:style>
          <a:lnRef idx="1">
            <a:schemeClr val="accent1"/>
          </a:lnRef>
          <a:fillRef idx="0">
            <a:schemeClr val="accent1"/>
          </a:fillRef>
          <a:effectRef idx="0">
            <a:schemeClr val="accent1"/>
          </a:effectRef>
          <a:fontRef idx="minor">
            <a:schemeClr val="tx1"/>
          </a:fontRef>
        </p:style>
      </p:cxnSp>
      <p:sp>
        <p:nvSpPr>
          <p:cNvPr id="291" name="Text Box 25">
            <a:extLst>
              <a:ext uri="{FF2B5EF4-FFF2-40B4-BE49-F238E27FC236}">
                <a16:creationId xmlns:a16="http://schemas.microsoft.com/office/drawing/2014/main" id="{A76252A6-785B-4581-B95F-6D630FAEA046}"/>
              </a:ext>
            </a:extLst>
          </p:cNvPr>
          <p:cNvSpPr txBox="1">
            <a:spLocks noChangeArrowheads="1"/>
          </p:cNvSpPr>
          <p:nvPr/>
        </p:nvSpPr>
        <p:spPr bwMode="gray">
          <a:xfrm>
            <a:off x="6908140" y="4451377"/>
            <a:ext cx="93046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nSpc>
                <a:spcPct val="80000"/>
              </a:lnSpc>
              <a:spcAft>
                <a:spcPct val="0"/>
              </a:spcAft>
              <a:buClrTx/>
              <a:buNone/>
              <a:defRPr/>
            </a:pPr>
            <a:r>
              <a:rPr lang="es-AR" altLang="en-US" sz="1000" b="1" kern="0" dirty="0">
                <a:solidFill>
                  <a:srgbClr val="004896"/>
                </a:solidFill>
              </a:rPr>
              <a:t>São Paulo</a:t>
            </a:r>
            <a:r>
              <a:rPr lang="es-AR" altLang="en-US" sz="1000" kern="0" dirty="0">
                <a:solidFill>
                  <a:srgbClr val="004896"/>
                </a:solidFill>
              </a:rPr>
              <a:t> (</a:t>
            </a:r>
            <a:r>
              <a:rPr lang="es-AR" altLang="en-US" sz="1000" kern="0" dirty="0" err="1">
                <a:solidFill>
                  <a:srgbClr val="004896"/>
                </a:solidFill>
              </a:rPr>
              <a:t>Headquarters</a:t>
            </a:r>
            <a:r>
              <a:rPr lang="es-AR" altLang="en-US" sz="1000" kern="0" dirty="0">
                <a:solidFill>
                  <a:srgbClr val="004896"/>
                </a:solidFill>
              </a:rPr>
              <a:t>)</a:t>
            </a:r>
          </a:p>
        </p:txBody>
      </p:sp>
      <p:sp>
        <p:nvSpPr>
          <p:cNvPr id="292" name="Elipse 291">
            <a:extLst>
              <a:ext uri="{FF2B5EF4-FFF2-40B4-BE49-F238E27FC236}">
                <a16:creationId xmlns:a16="http://schemas.microsoft.com/office/drawing/2014/main" id="{D6BE4D8C-4433-49E4-93C8-5AA524449491}"/>
              </a:ext>
            </a:extLst>
          </p:cNvPr>
          <p:cNvSpPr/>
          <p:nvPr/>
        </p:nvSpPr>
        <p:spPr>
          <a:xfrm>
            <a:off x="6855772" y="4222151"/>
            <a:ext cx="134872" cy="134872"/>
          </a:xfrm>
          <a:prstGeom prst="ellipse">
            <a:avLst/>
          </a:prstGeom>
          <a:solidFill>
            <a:schemeClr val="bg2"/>
          </a:solidFill>
          <a:ln w="222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latin typeface="Arial"/>
            </a:endParaRPr>
          </a:p>
        </p:txBody>
      </p:sp>
      <p:sp>
        <p:nvSpPr>
          <p:cNvPr id="293" name="Elipse 292">
            <a:extLst>
              <a:ext uri="{FF2B5EF4-FFF2-40B4-BE49-F238E27FC236}">
                <a16:creationId xmlns:a16="http://schemas.microsoft.com/office/drawing/2014/main" id="{35B2B955-BC75-4D27-8596-D64450DCF135}"/>
              </a:ext>
            </a:extLst>
          </p:cNvPr>
          <p:cNvSpPr/>
          <p:nvPr/>
        </p:nvSpPr>
        <p:spPr>
          <a:xfrm>
            <a:off x="6777958" y="4144337"/>
            <a:ext cx="290500" cy="290500"/>
          </a:xfrm>
          <a:prstGeom prst="ellipse">
            <a:avLst/>
          </a:prstGeom>
          <a:noFill/>
          <a:ln w="22225"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kern="0">
              <a:solidFill>
                <a:sysClr val="windowText" lastClr="000000"/>
              </a:solidFill>
              <a:latin typeface="Arial"/>
            </a:endParaRPr>
          </a:p>
        </p:txBody>
      </p:sp>
      <p:grpSp>
        <p:nvGrpSpPr>
          <p:cNvPr id="294" name="Grupo 293">
            <a:extLst>
              <a:ext uri="{FF2B5EF4-FFF2-40B4-BE49-F238E27FC236}">
                <a16:creationId xmlns:a16="http://schemas.microsoft.com/office/drawing/2014/main" id="{F8A1D1B5-ED12-45D1-917E-B3B5BF68AEB7}"/>
              </a:ext>
            </a:extLst>
          </p:cNvPr>
          <p:cNvGrpSpPr/>
          <p:nvPr/>
        </p:nvGrpSpPr>
        <p:grpSpPr>
          <a:xfrm>
            <a:off x="5790207" y="5173985"/>
            <a:ext cx="2925742" cy="630792"/>
            <a:chOff x="4267001" y="5033064"/>
            <a:chExt cx="2925742" cy="630792"/>
          </a:xfrm>
        </p:grpSpPr>
        <p:sp>
          <p:nvSpPr>
            <p:cNvPr id="295" name="Elipse 294">
              <a:extLst>
                <a:ext uri="{FF2B5EF4-FFF2-40B4-BE49-F238E27FC236}">
                  <a16:creationId xmlns:a16="http://schemas.microsoft.com/office/drawing/2014/main" id="{041DAF77-AA27-4003-8409-1376F9EEBC52}"/>
                </a:ext>
              </a:extLst>
            </p:cNvPr>
            <p:cNvSpPr/>
            <p:nvPr/>
          </p:nvSpPr>
          <p:spPr>
            <a:xfrm>
              <a:off x="4267001" y="5033064"/>
              <a:ext cx="134872" cy="134872"/>
            </a:xfrm>
            <a:prstGeom prst="ellipse">
              <a:avLst/>
            </a:prstGeom>
            <a:noFill/>
            <a:ln w="22225"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grpSp>
          <p:nvGrpSpPr>
            <p:cNvPr id="296" name="Grupo 295">
              <a:extLst>
                <a:ext uri="{FF2B5EF4-FFF2-40B4-BE49-F238E27FC236}">
                  <a16:creationId xmlns:a16="http://schemas.microsoft.com/office/drawing/2014/main" id="{F1F25A02-3306-4249-96E2-49319F8B4EEF}"/>
                </a:ext>
              </a:extLst>
            </p:cNvPr>
            <p:cNvGrpSpPr/>
            <p:nvPr/>
          </p:nvGrpSpPr>
          <p:grpSpPr>
            <a:xfrm>
              <a:off x="4324987" y="5161106"/>
              <a:ext cx="2867756" cy="502750"/>
              <a:chOff x="3999269" y="5737835"/>
              <a:chExt cx="2867756" cy="502750"/>
            </a:xfrm>
            <a:noFill/>
          </p:grpSpPr>
          <p:sp>
            <p:nvSpPr>
              <p:cNvPr id="297" name="Line 97">
                <a:extLst>
                  <a:ext uri="{FF2B5EF4-FFF2-40B4-BE49-F238E27FC236}">
                    <a16:creationId xmlns:a16="http://schemas.microsoft.com/office/drawing/2014/main" id="{C9F6EB02-0754-41E8-8757-5507BB9EB54B}"/>
                  </a:ext>
                </a:extLst>
              </p:cNvPr>
              <p:cNvSpPr>
                <a:spLocks noChangeShapeType="1"/>
              </p:cNvSpPr>
              <p:nvPr/>
            </p:nvSpPr>
            <p:spPr bwMode="auto">
              <a:xfrm>
                <a:off x="4005015" y="5737835"/>
                <a:ext cx="0" cy="502254"/>
              </a:xfrm>
              <a:prstGeom prst="line">
                <a:avLst/>
              </a:prstGeom>
              <a:grpFill/>
              <a:ln>
                <a:solidFill>
                  <a:schemeClr val="tx1">
                    <a:lumMod val="65000"/>
                    <a:lumOff val="35000"/>
                  </a:schemeClr>
                </a:solidFill>
              </a:ln>
              <a:extLst/>
            </p:spPr>
            <p:style>
              <a:lnRef idx="1">
                <a:schemeClr val="accent1"/>
              </a:lnRef>
              <a:fillRef idx="0">
                <a:schemeClr val="accent1"/>
              </a:fillRef>
              <a:effectRef idx="0">
                <a:schemeClr val="accent1"/>
              </a:effectRef>
              <a:fontRef idx="minor">
                <a:schemeClr val="tx1"/>
              </a:fontRef>
            </p:style>
            <p:txBody>
              <a:bodyPr/>
              <a:lstStyle/>
              <a:p>
                <a:pPr algn="r">
                  <a:defRPr/>
                </a:pPr>
                <a:endParaRPr lang="en-US" kern="0">
                  <a:solidFill>
                    <a:sysClr val="windowText" lastClr="000000"/>
                  </a:solidFill>
                  <a:latin typeface="Arial"/>
                </a:endParaRPr>
              </a:p>
            </p:txBody>
          </p:sp>
          <p:cxnSp>
            <p:nvCxnSpPr>
              <p:cNvPr id="298" name="Conector reto 203">
                <a:extLst>
                  <a:ext uri="{FF2B5EF4-FFF2-40B4-BE49-F238E27FC236}">
                    <a16:creationId xmlns:a16="http://schemas.microsoft.com/office/drawing/2014/main" id="{48E09210-C70F-41FF-A5EB-1164C6C6F08F}"/>
                  </a:ext>
                </a:extLst>
              </p:cNvPr>
              <p:cNvCxnSpPr/>
              <p:nvPr/>
            </p:nvCxnSpPr>
            <p:spPr>
              <a:xfrm>
                <a:off x="3999269" y="6240585"/>
                <a:ext cx="2867756" cy="0"/>
              </a:xfrm>
              <a:prstGeom prst="line">
                <a:avLst/>
              </a:prstGeom>
              <a:grp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sp>
        <p:nvSpPr>
          <p:cNvPr id="299" name="Text Box 25">
            <a:extLst>
              <a:ext uri="{FF2B5EF4-FFF2-40B4-BE49-F238E27FC236}">
                <a16:creationId xmlns:a16="http://schemas.microsoft.com/office/drawing/2014/main" id="{A6E74032-9AA4-427A-A61C-62E25DF1D349}"/>
              </a:ext>
            </a:extLst>
          </p:cNvPr>
          <p:cNvSpPr txBox="1">
            <a:spLocks noChangeArrowheads="1"/>
          </p:cNvSpPr>
          <p:nvPr/>
        </p:nvSpPr>
        <p:spPr bwMode="gray">
          <a:xfrm>
            <a:off x="9432492" y="6323813"/>
            <a:ext cx="69410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de-DE"/>
            </a:defPPr>
            <a:lvl1pPr algn="r" eaLnBrk="0" hangingPunct="0">
              <a:lnSpc>
                <a:spcPct val="80000"/>
              </a:lnSpc>
              <a:buClrTx/>
              <a:buFontTx/>
              <a:buNone/>
              <a:defRPr sz="1000">
                <a:solidFill>
                  <a:prstClr val="black"/>
                </a:solidFill>
                <a:latin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latin typeface="Arial" pitchFamily="34" charset="0"/>
              </a:defRPr>
            </a:lvl2pPr>
            <a:lvl3pPr marL="1143000" indent="-228600" eaLnBrk="0" hangingPunct="0">
              <a:lnSpc>
                <a:spcPct val="110000"/>
              </a:lnSpc>
              <a:spcAft>
                <a:spcPct val="50000"/>
              </a:spcAft>
              <a:buClr>
                <a:schemeClr val="tx1"/>
              </a:buClr>
              <a:buChar char="–"/>
              <a:defRPr sz="2000">
                <a:latin typeface="Arial" pitchFamily="34" charset="0"/>
              </a:defRPr>
            </a:lvl3pPr>
            <a:lvl4pPr marL="1600200" indent="-228600" eaLnBrk="0" hangingPunct="0">
              <a:lnSpc>
                <a:spcPct val="110000"/>
              </a:lnSpc>
              <a:spcAft>
                <a:spcPct val="50000"/>
              </a:spcAft>
              <a:buClr>
                <a:schemeClr val="tx1"/>
              </a:buClr>
              <a:buChar char="–"/>
              <a:defRPr sz="2000">
                <a:latin typeface="Arial" pitchFamily="34" charset="0"/>
              </a:defRPr>
            </a:lvl4pPr>
            <a:lvl5pPr marL="2057400" indent="-228600" eaLnBrk="0" hangingPunct="0">
              <a:lnSpc>
                <a:spcPct val="110000"/>
              </a:lnSpc>
              <a:spcAft>
                <a:spcPct val="50000"/>
              </a:spcAft>
              <a:buClr>
                <a:schemeClr val="tx1"/>
              </a:buClr>
              <a:buChar char="–"/>
              <a:defRPr sz="2000">
                <a:latin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latin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latin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latin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latin typeface="Arial" pitchFamily="34" charset="0"/>
              </a:defRPr>
            </a:lvl9pPr>
          </a:lstStyle>
          <a:p>
            <a:pPr>
              <a:defRPr/>
            </a:pPr>
            <a:r>
              <a:rPr lang="es-AR" altLang="en-US" kern="0" dirty="0">
                <a:cs typeface="Arial" pitchFamily="34" charset="0"/>
              </a:rPr>
              <a:t>Santo Tomé</a:t>
            </a:r>
          </a:p>
        </p:txBody>
      </p:sp>
      <p:grpSp>
        <p:nvGrpSpPr>
          <p:cNvPr id="300" name="Grupo 299">
            <a:extLst>
              <a:ext uri="{FF2B5EF4-FFF2-40B4-BE49-F238E27FC236}">
                <a16:creationId xmlns:a16="http://schemas.microsoft.com/office/drawing/2014/main" id="{0555EA2F-2B27-4DB1-8D05-5355966E0A7D}"/>
              </a:ext>
            </a:extLst>
          </p:cNvPr>
          <p:cNvGrpSpPr/>
          <p:nvPr/>
        </p:nvGrpSpPr>
        <p:grpSpPr>
          <a:xfrm>
            <a:off x="5588481" y="5173986"/>
            <a:ext cx="3661053" cy="1217251"/>
            <a:chOff x="4065274" y="5033064"/>
            <a:chExt cx="3661053" cy="1217251"/>
          </a:xfrm>
        </p:grpSpPr>
        <p:sp>
          <p:nvSpPr>
            <p:cNvPr id="301" name="Line 97">
              <a:extLst>
                <a:ext uri="{FF2B5EF4-FFF2-40B4-BE49-F238E27FC236}">
                  <a16:creationId xmlns:a16="http://schemas.microsoft.com/office/drawing/2014/main" id="{581C50FC-04E1-4475-97CC-699A1230FDDD}"/>
                </a:ext>
              </a:extLst>
            </p:cNvPr>
            <p:cNvSpPr>
              <a:spLocks noChangeShapeType="1"/>
            </p:cNvSpPr>
            <p:nvPr/>
          </p:nvSpPr>
          <p:spPr bwMode="auto">
            <a:xfrm>
              <a:off x="4132710" y="5182044"/>
              <a:ext cx="0" cy="1067775"/>
            </a:xfrm>
            <a:prstGeom prst="line">
              <a:avLst/>
            </a:prstGeom>
            <a:ln>
              <a:solidFill>
                <a:schemeClr val="tx1">
                  <a:lumMod val="65000"/>
                  <a:lumOff val="35000"/>
                </a:schemeClr>
              </a:solidFill>
            </a:ln>
            <a:extLst/>
          </p:spPr>
          <p:style>
            <a:lnRef idx="1">
              <a:schemeClr val="accent1"/>
            </a:lnRef>
            <a:fillRef idx="0">
              <a:schemeClr val="accent1"/>
            </a:fillRef>
            <a:effectRef idx="0">
              <a:schemeClr val="accent1"/>
            </a:effectRef>
            <a:fontRef idx="minor">
              <a:schemeClr val="tx1"/>
            </a:fontRef>
          </p:style>
          <p:txBody>
            <a:bodyPr/>
            <a:lstStyle/>
            <a:p>
              <a:pPr algn="r" fontAlgn="base">
                <a:spcBef>
                  <a:spcPct val="0"/>
                </a:spcBef>
                <a:spcAft>
                  <a:spcPct val="0"/>
                </a:spcAft>
                <a:defRPr/>
              </a:pPr>
              <a:endParaRPr lang="en-US" kern="0">
                <a:solidFill>
                  <a:prstClr val="black"/>
                </a:solidFill>
                <a:latin typeface="Arial"/>
              </a:endParaRPr>
            </a:p>
          </p:txBody>
        </p:sp>
        <p:cxnSp>
          <p:nvCxnSpPr>
            <p:cNvPr id="302" name="Conector reto 104">
              <a:extLst>
                <a:ext uri="{FF2B5EF4-FFF2-40B4-BE49-F238E27FC236}">
                  <a16:creationId xmlns:a16="http://schemas.microsoft.com/office/drawing/2014/main" id="{5E30212D-30EE-40EC-AF7B-4489BFF9421D}"/>
                </a:ext>
              </a:extLst>
            </p:cNvPr>
            <p:cNvCxnSpPr/>
            <p:nvPr/>
          </p:nvCxnSpPr>
          <p:spPr>
            <a:xfrm>
              <a:off x="4132710" y="6250315"/>
              <a:ext cx="3593617"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03" name="Elipse 302">
              <a:extLst>
                <a:ext uri="{FF2B5EF4-FFF2-40B4-BE49-F238E27FC236}">
                  <a16:creationId xmlns:a16="http://schemas.microsoft.com/office/drawing/2014/main" id="{3EB483D3-A628-497A-93CD-32709207A032}"/>
                </a:ext>
              </a:extLst>
            </p:cNvPr>
            <p:cNvSpPr/>
            <p:nvPr/>
          </p:nvSpPr>
          <p:spPr>
            <a:xfrm>
              <a:off x="4065274" y="5033064"/>
              <a:ext cx="134872" cy="134872"/>
            </a:xfrm>
            <a:prstGeom prst="ellipse">
              <a:avLst/>
            </a:prstGeom>
            <a:noFill/>
            <a:ln w="22225" cap="sq">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grpSp>
      <p:sp>
        <p:nvSpPr>
          <p:cNvPr id="304" name="Retângulo 108">
            <a:extLst>
              <a:ext uri="{FF2B5EF4-FFF2-40B4-BE49-F238E27FC236}">
                <a16:creationId xmlns:a16="http://schemas.microsoft.com/office/drawing/2014/main" id="{461406A5-95BB-4DFE-B2B5-60F1861E2AFF}"/>
              </a:ext>
            </a:extLst>
          </p:cNvPr>
          <p:cNvSpPr/>
          <p:nvPr/>
        </p:nvSpPr>
        <p:spPr>
          <a:xfrm>
            <a:off x="2788095" y="2452458"/>
            <a:ext cx="860022" cy="670006"/>
          </a:xfrm>
          <a:prstGeom prst="rect">
            <a:avLst/>
          </a:prstGeom>
          <a:pattFill prst="lgGrid">
            <a:fgClr>
              <a:srgbClr val="E4E4E4"/>
            </a:fgClr>
            <a:bgClr>
              <a:schemeClr val="bg1"/>
            </a:bgClr>
          </a:pattFill>
          <a:ln w="381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305" name="Text Box 104">
            <a:extLst>
              <a:ext uri="{FF2B5EF4-FFF2-40B4-BE49-F238E27FC236}">
                <a16:creationId xmlns:a16="http://schemas.microsoft.com/office/drawing/2014/main" id="{B5EDB7CF-0A1C-44FA-9583-EE916FF9936F}"/>
              </a:ext>
            </a:extLst>
          </p:cNvPr>
          <p:cNvSpPr txBox="1">
            <a:spLocks noChangeArrowheads="1"/>
          </p:cNvSpPr>
          <p:nvPr/>
        </p:nvSpPr>
        <p:spPr bwMode="gray">
          <a:xfrm>
            <a:off x="4888988" y="1865522"/>
            <a:ext cx="495328" cy="130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non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gn="ctr" fontAlgn="base">
              <a:lnSpc>
                <a:spcPct val="85000"/>
              </a:lnSpc>
              <a:spcBef>
                <a:spcPct val="0"/>
              </a:spcBef>
              <a:spcAft>
                <a:spcPct val="0"/>
              </a:spcAft>
              <a:buClrTx/>
              <a:buNone/>
              <a:defRPr/>
            </a:pPr>
            <a:r>
              <a:rPr lang="es-AR" altLang="en-US" sz="1000" b="1" kern="0" dirty="0">
                <a:solidFill>
                  <a:srgbClr val="004896"/>
                </a:solidFill>
              </a:rPr>
              <a:t>Caracas</a:t>
            </a:r>
            <a:endParaRPr lang="es-AR" altLang="en-US" sz="1000" kern="0" dirty="0">
              <a:solidFill>
                <a:srgbClr val="004896"/>
              </a:solidFill>
            </a:endParaRPr>
          </a:p>
        </p:txBody>
      </p:sp>
      <p:sp>
        <p:nvSpPr>
          <p:cNvPr id="306" name="Elipse 305">
            <a:extLst>
              <a:ext uri="{FF2B5EF4-FFF2-40B4-BE49-F238E27FC236}">
                <a16:creationId xmlns:a16="http://schemas.microsoft.com/office/drawing/2014/main" id="{F64509A9-A53F-4B17-8FD7-CB4E49C08A6E}"/>
              </a:ext>
            </a:extLst>
          </p:cNvPr>
          <p:cNvSpPr/>
          <p:nvPr/>
        </p:nvSpPr>
        <p:spPr>
          <a:xfrm>
            <a:off x="5060311" y="1696611"/>
            <a:ext cx="134872" cy="134872"/>
          </a:xfrm>
          <a:prstGeom prst="ellipse">
            <a:avLst/>
          </a:prstGeom>
          <a:solidFill>
            <a:schemeClr val="bg2"/>
          </a:solidFill>
          <a:ln w="222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
        <p:nvSpPr>
          <p:cNvPr id="307" name="Text Box 104">
            <a:extLst>
              <a:ext uri="{FF2B5EF4-FFF2-40B4-BE49-F238E27FC236}">
                <a16:creationId xmlns:a16="http://schemas.microsoft.com/office/drawing/2014/main" id="{D31FA9FA-4C19-4FD8-9AB6-31C1AF6C085A}"/>
              </a:ext>
            </a:extLst>
          </p:cNvPr>
          <p:cNvSpPr txBox="1">
            <a:spLocks noChangeArrowheads="1"/>
          </p:cNvSpPr>
          <p:nvPr/>
        </p:nvSpPr>
        <p:spPr bwMode="gray">
          <a:xfrm>
            <a:off x="3810853" y="3048937"/>
            <a:ext cx="106874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lIns="0" tIns="0" rIns="0" bIns="0">
            <a:spAutoFit/>
          </a:bodyPr>
          <a:lstStyle>
            <a:lvl1pPr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1pPr>
            <a:lvl2pPr marL="742950" indent="-285750" eaLnBrk="0" hangingPunct="0">
              <a:lnSpc>
                <a:spcPct val="110000"/>
              </a:lnSpc>
              <a:spcAft>
                <a:spcPct val="50000"/>
              </a:spcAft>
              <a:buClr>
                <a:schemeClr val="accent1"/>
              </a:buClr>
              <a:buFont typeface="Wingdings" pitchFamily="2" charset="2"/>
              <a:buChar char="n"/>
              <a:defRPr sz="2000">
                <a:solidFill>
                  <a:schemeClr val="tx1"/>
                </a:solidFill>
                <a:latin typeface="Arial" pitchFamily="34" charset="0"/>
                <a:cs typeface="Arial" pitchFamily="34" charset="0"/>
              </a:defRPr>
            </a:lvl2pPr>
            <a:lvl3pPr marL="11430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3pPr>
            <a:lvl4pPr marL="16002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4pPr>
            <a:lvl5pPr marL="2057400" indent="-228600" eaLnBrk="0" hangingPunct="0">
              <a:lnSpc>
                <a:spcPct val="110000"/>
              </a:lnSpc>
              <a:spcAft>
                <a:spcPct val="50000"/>
              </a:spcAft>
              <a:buClr>
                <a:schemeClr val="tx1"/>
              </a:buClr>
              <a:buChar char="–"/>
              <a:defRPr sz="2000">
                <a:solidFill>
                  <a:schemeClr val="tx1"/>
                </a:solidFill>
                <a:latin typeface="Arial" pitchFamily="34" charset="0"/>
                <a:cs typeface="Arial" pitchFamily="34" charset="0"/>
              </a:defRPr>
            </a:lvl5pPr>
            <a:lvl6pPr marL="25146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6pPr>
            <a:lvl7pPr marL="29718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7pPr>
            <a:lvl8pPr marL="34290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8pPr>
            <a:lvl9pPr marL="3886200" indent="-228600" eaLnBrk="0" fontAlgn="base" hangingPunct="0">
              <a:lnSpc>
                <a:spcPct val="110000"/>
              </a:lnSpc>
              <a:spcBef>
                <a:spcPct val="0"/>
              </a:spcBef>
              <a:spcAft>
                <a:spcPct val="50000"/>
              </a:spcAft>
              <a:buClr>
                <a:schemeClr val="tx1"/>
              </a:buClr>
              <a:buChar char="–"/>
              <a:defRPr sz="2000">
                <a:solidFill>
                  <a:schemeClr val="tx1"/>
                </a:solidFill>
                <a:latin typeface="Arial" pitchFamily="34" charset="0"/>
                <a:cs typeface="Arial" pitchFamily="34" charset="0"/>
              </a:defRPr>
            </a:lvl9pPr>
          </a:lstStyle>
          <a:p>
            <a:pPr algn="ctr" fontAlgn="base">
              <a:lnSpc>
                <a:spcPct val="80000"/>
              </a:lnSpc>
              <a:spcBef>
                <a:spcPct val="0"/>
              </a:spcBef>
              <a:spcAft>
                <a:spcPct val="0"/>
              </a:spcAft>
              <a:buClrTx/>
              <a:buNone/>
              <a:defRPr/>
            </a:pPr>
            <a:r>
              <a:rPr lang="es-AR" altLang="en-US" sz="1000" b="1" kern="0" dirty="0">
                <a:solidFill>
                  <a:srgbClr val="004896"/>
                </a:solidFill>
              </a:rPr>
              <a:t>Lima</a:t>
            </a:r>
            <a:endParaRPr lang="es-AR" altLang="en-US" sz="1000" kern="0" dirty="0">
              <a:solidFill>
                <a:srgbClr val="004896"/>
              </a:solidFill>
            </a:endParaRPr>
          </a:p>
        </p:txBody>
      </p:sp>
      <p:sp>
        <p:nvSpPr>
          <p:cNvPr id="308" name="Elipse 461">
            <a:extLst>
              <a:ext uri="{FF2B5EF4-FFF2-40B4-BE49-F238E27FC236}">
                <a16:creationId xmlns:a16="http://schemas.microsoft.com/office/drawing/2014/main" id="{5ED28A27-60AA-479F-93F4-8F8FE7C7FCDC}"/>
              </a:ext>
            </a:extLst>
          </p:cNvPr>
          <p:cNvSpPr/>
          <p:nvPr/>
        </p:nvSpPr>
        <p:spPr>
          <a:xfrm>
            <a:off x="4281488" y="3207757"/>
            <a:ext cx="134872" cy="134872"/>
          </a:xfrm>
          <a:prstGeom prst="ellipse">
            <a:avLst/>
          </a:prstGeom>
          <a:solidFill>
            <a:schemeClr val="bg2"/>
          </a:solidFill>
          <a:ln w="222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kern="0">
              <a:solidFill>
                <a:prstClr val="white"/>
              </a:solidFill>
              <a:latin typeface="Arial"/>
            </a:endParaRPr>
          </a:p>
        </p:txBody>
      </p:sp>
    </p:spTree>
    <p:extLst>
      <p:ext uri="{BB962C8B-B14F-4D97-AF65-F5344CB8AC3E}">
        <p14:creationId xmlns:p14="http://schemas.microsoft.com/office/powerpoint/2010/main" val="820235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75CC22B-DEE9-4E52-B7C7-3243517EE04C}"/>
              </a:ext>
            </a:extLst>
          </p:cNvPr>
          <p:cNvSpPr>
            <a:spLocks noGrp="1"/>
          </p:cNvSpPr>
          <p:nvPr>
            <p:ph type="title"/>
          </p:nvPr>
        </p:nvSpPr>
        <p:spPr/>
        <p:txBody>
          <a:bodyPr/>
          <a:lstStyle/>
          <a:p>
            <a:r>
              <a:rPr lang="es-PE" dirty="0"/>
              <a:t>Principales Segmentos</a:t>
            </a:r>
          </a:p>
        </p:txBody>
      </p:sp>
      <p:sp>
        <p:nvSpPr>
          <p:cNvPr id="4" name="Marcador de número de diapositiva 3">
            <a:extLst>
              <a:ext uri="{FF2B5EF4-FFF2-40B4-BE49-F238E27FC236}">
                <a16:creationId xmlns:a16="http://schemas.microsoft.com/office/drawing/2014/main" id="{306B82D5-A35E-4707-8BEC-B59E89C27CD6}"/>
              </a:ext>
            </a:extLst>
          </p:cNvPr>
          <p:cNvSpPr>
            <a:spLocks noGrp="1"/>
          </p:cNvSpPr>
          <p:nvPr>
            <p:ph type="sldNum" sz="quarter" idx="10"/>
          </p:nvPr>
        </p:nvSpPr>
        <p:spPr/>
        <p:txBody>
          <a:bodyPr/>
          <a:lstStyle/>
          <a:p>
            <a:fld id="{9ED39FAB-3417-4E61-A69A-10C0CE33FFC4}" type="slidenum">
              <a:rPr lang="de-DE" smtClean="0"/>
              <a:pPr/>
              <a:t>6</a:t>
            </a:fld>
            <a:endParaRPr lang="de-DE"/>
          </a:p>
        </p:txBody>
      </p:sp>
      <p:grpSp>
        <p:nvGrpSpPr>
          <p:cNvPr id="5" name="Grupo 4">
            <a:extLst>
              <a:ext uri="{FF2B5EF4-FFF2-40B4-BE49-F238E27FC236}">
                <a16:creationId xmlns:a16="http://schemas.microsoft.com/office/drawing/2014/main" id="{AAF138CE-1F8C-4841-BC4F-BB7A46E4B6DE}"/>
              </a:ext>
            </a:extLst>
          </p:cNvPr>
          <p:cNvGrpSpPr/>
          <p:nvPr/>
        </p:nvGrpSpPr>
        <p:grpSpPr>
          <a:xfrm>
            <a:off x="948170" y="1705054"/>
            <a:ext cx="9143480" cy="4996072"/>
            <a:chOff x="0" y="1817945"/>
            <a:chExt cx="9144000" cy="5040055"/>
          </a:xfrm>
        </p:grpSpPr>
        <p:sp>
          <p:nvSpPr>
            <p:cNvPr id="6" name="Retângulo 6">
              <a:extLst>
                <a:ext uri="{FF2B5EF4-FFF2-40B4-BE49-F238E27FC236}">
                  <a16:creationId xmlns:a16="http://schemas.microsoft.com/office/drawing/2014/main" id="{18B9577A-EDE4-47BA-8FEE-5D4DD62E86D2}"/>
                </a:ext>
              </a:extLst>
            </p:cNvPr>
            <p:cNvSpPr/>
            <p:nvPr/>
          </p:nvSpPr>
          <p:spPr>
            <a:xfrm>
              <a:off x="0" y="3648002"/>
              <a:ext cx="9144000" cy="3209998"/>
            </a:xfrm>
            <a:prstGeom prst="rect">
              <a:avLst/>
            </a:prstGeom>
            <a:solidFill>
              <a:schemeClr val="bg1"/>
            </a:solidFill>
            <a:ln w="9525" cap="flat" cmpd="sng" algn="ctr">
              <a:noFill/>
              <a:prstDash val="solid"/>
              <a:round/>
              <a:headEnd type="none" w="med" len="med"/>
              <a:tailEnd type="none" w="med" len="med"/>
            </a:ln>
            <a:effectLst>
              <a:innerShdw blurRad="63500" dist="50800" dir="15000000">
                <a:srgbClr val="8399A9">
                  <a:alpha val="49804"/>
                </a:srgbClr>
              </a:innerShdw>
            </a:effectLst>
          </p:spPr>
          <p:txBody>
            <a:bodyPr lIns="0" tIns="0" rIns="0" bIns="0"/>
            <a:lstStyle/>
            <a:p>
              <a:pPr>
                <a:defRPr/>
              </a:pPr>
              <a:endParaRPr lang="en-US" kern="0">
                <a:solidFill>
                  <a:prstClr val="black"/>
                </a:solidFill>
                <a:latin typeface="Calibri" pitchFamily="34" charset="0"/>
                <a:cs typeface="Arial" pitchFamily="34" charset="0"/>
              </a:endParaRPr>
            </a:p>
          </p:txBody>
        </p:sp>
        <p:sp>
          <p:nvSpPr>
            <p:cNvPr id="7" name="Elipse 6">
              <a:extLst>
                <a:ext uri="{FF2B5EF4-FFF2-40B4-BE49-F238E27FC236}">
                  <a16:creationId xmlns:a16="http://schemas.microsoft.com/office/drawing/2014/main" id="{7D3652F6-3878-4017-9AE0-776BB0CD8C32}"/>
                </a:ext>
              </a:extLst>
            </p:cNvPr>
            <p:cNvSpPr/>
            <p:nvPr/>
          </p:nvSpPr>
          <p:spPr>
            <a:xfrm>
              <a:off x="2801763" y="1817945"/>
              <a:ext cx="3540475" cy="3540475"/>
            </a:xfrm>
            <a:prstGeom prst="ellipse">
              <a:avLst/>
            </a:prstGeom>
            <a:solidFill>
              <a:schemeClr val="bg1"/>
            </a:solidFill>
            <a:ln w="9525" cap="flat" cmpd="sng" algn="ctr">
              <a:noFill/>
              <a:prstDash val="solid"/>
              <a:round/>
              <a:headEnd type="none" w="med" len="med"/>
              <a:tailEnd type="none" w="med" len="med"/>
            </a:ln>
            <a:effectLst>
              <a:innerShdw blurRad="63500" dist="50800" dir="16800000">
                <a:srgbClr val="8399A9">
                  <a:alpha val="49804"/>
                </a:srgbClr>
              </a:innerShdw>
            </a:effectLst>
          </p:spPr>
          <p:txBody>
            <a:bodyPr lIns="0" tIns="0" rIns="0" bIns="0"/>
            <a:lstStyle/>
            <a:p>
              <a:pPr>
                <a:defRPr/>
              </a:pPr>
              <a:endParaRPr lang="en-US" kern="0">
                <a:solidFill>
                  <a:sysClr val="windowText" lastClr="000000"/>
                </a:solidFill>
                <a:latin typeface="Calibri" pitchFamily="34" charset="0"/>
                <a:cs typeface="Arial" pitchFamily="34" charset="0"/>
              </a:endParaRPr>
            </a:p>
          </p:txBody>
        </p:sp>
      </p:grpSp>
      <p:graphicFrame>
        <p:nvGraphicFramePr>
          <p:cNvPr id="8" name="Gráfico 7">
            <a:extLst>
              <a:ext uri="{FF2B5EF4-FFF2-40B4-BE49-F238E27FC236}">
                <a16:creationId xmlns:a16="http://schemas.microsoft.com/office/drawing/2014/main" id="{AAD7B8EA-62D0-4FC2-8A21-B36CD8A75573}"/>
              </a:ext>
            </a:extLst>
          </p:cNvPr>
          <p:cNvGraphicFramePr/>
          <p:nvPr>
            <p:extLst>
              <p:ext uri="{D42A27DB-BD31-4B8C-83A1-F6EECF244321}">
                <p14:modId xmlns:p14="http://schemas.microsoft.com/office/powerpoint/2010/main" val="3343703344"/>
              </p:ext>
            </p:extLst>
          </p:nvPr>
        </p:nvGraphicFramePr>
        <p:xfrm>
          <a:off x="2447374" y="1448780"/>
          <a:ext cx="6154444" cy="3992077"/>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angle 18">
            <a:extLst>
              <a:ext uri="{FF2B5EF4-FFF2-40B4-BE49-F238E27FC236}">
                <a16:creationId xmlns:a16="http://schemas.microsoft.com/office/drawing/2014/main" id="{12263703-F4BA-4916-9EC0-7CF01C06305F}"/>
              </a:ext>
            </a:extLst>
          </p:cNvPr>
          <p:cNvSpPr>
            <a:spLocks noChangeArrowheads="1"/>
          </p:cNvSpPr>
          <p:nvPr/>
        </p:nvSpPr>
        <p:spPr bwMode="auto">
          <a:xfrm>
            <a:off x="4570407" y="3175925"/>
            <a:ext cx="189564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lgn="ctr">
                <a:solidFill>
                  <a:srgbClr val="000000"/>
                </a:solidFill>
                <a:miter lim="800000"/>
                <a:headEnd/>
                <a:tailEnd/>
              </a14:hiddenLine>
            </a:ext>
          </a:extLst>
        </p:spPr>
        <p:txBody>
          <a:bodyPr wrap="square">
            <a:spAutoFit/>
          </a:bodyPr>
          <a:lstStyle/>
          <a:p>
            <a:pPr algn="ctr" defTabSz="914311">
              <a:defRPr/>
            </a:pPr>
            <a:r>
              <a:rPr lang="en-US" sz="1600" kern="0" dirty="0">
                <a:solidFill>
                  <a:sysClr val="windowText" lastClr="000000"/>
                </a:solidFill>
                <a:latin typeface="Arial"/>
                <a:cs typeface="Arial" pitchFamily="34" charset="0"/>
              </a:rPr>
              <a:t>America del Sur</a:t>
            </a:r>
            <a:endParaRPr lang="en-US" sz="2000" b="1" kern="0" dirty="0">
              <a:solidFill>
                <a:sysClr val="windowText" lastClr="000000"/>
              </a:solidFill>
              <a:latin typeface="Arial"/>
              <a:cs typeface="Arial" pitchFamily="34" charset="0"/>
            </a:endParaRPr>
          </a:p>
        </p:txBody>
      </p:sp>
      <p:sp>
        <p:nvSpPr>
          <p:cNvPr id="10" name="Text Box 45">
            <a:extLst>
              <a:ext uri="{FF2B5EF4-FFF2-40B4-BE49-F238E27FC236}">
                <a16:creationId xmlns:a16="http://schemas.microsoft.com/office/drawing/2014/main" id="{13B7C720-9379-421E-8009-47666FDA8D3F}"/>
              </a:ext>
            </a:extLst>
          </p:cNvPr>
          <p:cNvSpPr txBox="1">
            <a:spLocks noChangeArrowheads="1"/>
          </p:cNvSpPr>
          <p:nvPr/>
        </p:nvSpPr>
        <p:spPr bwMode="auto">
          <a:xfrm>
            <a:off x="8963425" y="5984517"/>
            <a:ext cx="731712"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lgn="ctr">
                <a:solidFill>
                  <a:srgbClr val="000000"/>
                </a:solidFill>
                <a:miter lim="800000"/>
                <a:headEnd/>
                <a:tailEnd/>
              </a14:hiddenLine>
            </a:ext>
          </a:extLst>
        </p:spPr>
        <p:txBody>
          <a:bodyPr wrap="square">
            <a:spAutoFit/>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algn="ctr" defTabSz="914311" eaLnBrk="1" hangingPunct="1">
              <a:lnSpc>
                <a:spcPct val="90000"/>
              </a:lnSpc>
              <a:defRPr/>
            </a:pPr>
            <a:r>
              <a:rPr lang="en-US" kern="0" dirty="0" err="1">
                <a:solidFill>
                  <a:prstClr val="black"/>
                </a:solidFill>
              </a:rPr>
              <a:t>Otros</a:t>
            </a:r>
            <a:endParaRPr lang="pt-BR" kern="0" dirty="0">
              <a:solidFill>
                <a:prstClr val="black"/>
              </a:solidFill>
            </a:endParaRPr>
          </a:p>
        </p:txBody>
      </p:sp>
      <p:sp>
        <p:nvSpPr>
          <p:cNvPr id="11" name="Text Box 45">
            <a:extLst>
              <a:ext uri="{FF2B5EF4-FFF2-40B4-BE49-F238E27FC236}">
                <a16:creationId xmlns:a16="http://schemas.microsoft.com/office/drawing/2014/main" id="{5449514A-01EE-4FE4-958D-2B763D428915}"/>
              </a:ext>
            </a:extLst>
          </p:cNvPr>
          <p:cNvSpPr txBox="1">
            <a:spLocks noChangeArrowheads="1"/>
          </p:cNvSpPr>
          <p:nvPr/>
        </p:nvSpPr>
        <p:spPr bwMode="auto">
          <a:xfrm>
            <a:off x="7077695" y="5984517"/>
            <a:ext cx="152015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lgn="ctr">
                <a:solidFill>
                  <a:srgbClr val="000000"/>
                </a:solidFill>
                <a:miter lim="800000"/>
                <a:headEnd/>
                <a:tailEnd/>
              </a14:hiddenLine>
            </a:ext>
          </a:extLst>
        </p:spPr>
        <p:txBody>
          <a:bodyPr wrap="square">
            <a:spAutoFit/>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algn="ctr" defTabSz="914311" eaLnBrk="1" hangingPunct="1">
              <a:lnSpc>
                <a:spcPct val="90000"/>
              </a:lnSpc>
              <a:defRPr/>
            </a:pPr>
            <a:r>
              <a:rPr lang="en-US" kern="0" dirty="0" err="1">
                <a:solidFill>
                  <a:prstClr val="black"/>
                </a:solidFill>
              </a:rPr>
              <a:t>Productos</a:t>
            </a:r>
            <a:r>
              <a:rPr lang="en-US" kern="0" dirty="0">
                <a:solidFill>
                  <a:prstClr val="black"/>
                </a:solidFill>
              </a:rPr>
              <a:t> </a:t>
            </a:r>
            <a:r>
              <a:rPr lang="en-US" kern="0" dirty="0" err="1">
                <a:solidFill>
                  <a:prstClr val="black"/>
                </a:solidFill>
              </a:rPr>
              <a:t>Químicos</a:t>
            </a:r>
            <a:r>
              <a:rPr lang="en-US" kern="0" dirty="0">
                <a:solidFill>
                  <a:prstClr val="black"/>
                </a:solidFill>
              </a:rPr>
              <a:t> </a:t>
            </a:r>
            <a:endParaRPr lang="pt-BR" kern="0" dirty="0">
              <a:solidFill>
                <a:prstClr val="black"/>
              </a:solidFill>
            </a:endParaRPr>
          </a:p>
        </p:txBody>
      </p:sp>
      <p:sp>
        <p:nvSpPr>
          <p:cNvPr id="12" name="Text Box 45">
            <a:extLst>
              <a:ext uri="{FF2B5EF4-FFF2-40B4-BE49-F238E27FC236}">
                <a16:creationId xmlns:a16="http://schemas.microsoft.com/office/drawing/2014/main" id="{D848B1C3-3585-423D-8C0D-AA977C374F01}"/>
              </a:ext>
            </a:extLst>
          </p:cNvPr>
          <p:cNvSpPr txBox="1">
            <a:spLocks noChangeArrowheads="1"/>
          </p:cNvSpPr>
          <p:nvPr/>
        </p:nvSpPr>
        <p:spPr bwMode="auto">
          <a:xfrm>
            <a:off x="5637347" y="5984517"/>
            <a:ext cx="1393885"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lgn="ctr">
                <a:solidFill>
                  <a:srgbClr val="000000"/>
                </a:solidFill>
                <a:miter lim="800000"/>
                <a:headEnd/>
                <a:tailEnd/>
              </a14:hiddenLine>
            </a:ext>
          </a:extLst>
        </p:spPr>
        <p:txBody>
          <a:bodyPr wrap="square">
            <a:spAutoFit/>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algn="ctr" defTabSz="914311" eaLnBrk="1" hangingPunct="1">
              <a:lnSpc>
                <a:spcPct val="90000"/>
              </a:lnSpc>
              <a:defRPr/>
            </a:pPr>
            <a:r>
              <a:rPr lang="en-US" kern="0" dirty="0" err="1">
                <a:solidFill>
                  <a:prstClr val="black"/>
                </a:solidFill>
              </a:rPr>
              <a:t>Petroleo</a:t>
            </a:r>
            <a:r>
              <a:rPr lang="en-US" kern="0" dirty="0">
                <a:solidFill>
                  <a:prstClr val="black"/>
                </a:solidFill>
              </a:rPr>
              <a:t> y Gas</a:t>
            </a:r>
            <a:endParaRPr lang="pt-BR" kern="0" dirty="0">
              <a:solidFill>
                <a:prstClr val="black"/>
              </a:solidFill>
            </a:endParaRPr>
          </a:p>
        </p:txBody>
      </p:sp>
      <p:sp>
        <p:nvSpPr>
          <p:cNvPr id="13" name="Rectangle 52">
            <a:extLst>
              <a:ext uri="{FF2B5EF4-FFF2-40B4-BE49-F238E27FC236}">
                <a16:creationId xmlns:a16="http://schemas.microsoft.com/office/drawing/2014/main" id="{2DEDFB86-91A8-43A9-8E1F-AE62A296FFDF}"/>
              </a:ext>
            </a:extLst>
          </p:cNvPr>
          <p:cNvSpPr>
            <a:spLocks noChangeArrowheads="1"/>
          </p:cNvSpPr>
          <p:nvPr/>
        </p:nvSpPr>
        <p:spPr bwMode="auto">
          <a:xfrm>
            <a:off x="1052340" y="6500005"/>
            <a:ext cx="594915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914311">
              <a:defRPr/>
            </a:pPr>
            <a:r>
              <a:rPr lang="en-US" altLang="en-US" sz="1000" kern="0" dirty="0">
                <a:solidFill>
                  <a:sysClr val="windowText" lastClr="000000"/>
                </a:solidFill>
                <a:latin typeface="Arial" charset="0"/>
                <a:cs typeface="Arial" charset="0"/>
              </a:rPr>
              <a:t>Source: MARIS GR consolidated figures (no OD exclusions - market view; €m)</a:t>
            </a:r>
          </a:p>
        </p:txBody>
      </p:sp>
      <p:sp>
        <p:nvSpPr>
          <p:cNvPr id="14" name="Text Box 45">
            <a:extLst>
              <a:ext uri="{FF2B5EF4-FFF2-40B4-BE49-F238E27FC236}">
                <a16:creationId xmlns:a16="http://schemas.microsoft.com/office/drawing/2014/main" id="{72AA5B4D-6D69-41D0-84CC-A724CA06D502}"/>
              </a:ext>
            </a:extLst>
          </p:cNvPr>
          <p:cNvSpPr txBox="1">
            <a:spLocks noChangeArrowheads="1"/>
          </p:cNvSpPr>
          <p:nvPr/>
        </p:nvSpPr>
        <p:spPr bwMode="auto">
          <a:xfrm>
            <a:off x="2448308" y="5984517"/>
            <a:ext cx="1775805" cy="424732"/>
          </a:xfrm>
          <a:prstGeom prst="rect">
            <a:avLst/>
          </a:prstGeom>
          <a:noFill/>
          <a:ln>
            <a:noFill/>
          </a:ln>
          <a:extLst/>
        </p:spPr>
        <p:txBody>
          <a:bodyPr wrap="square">
            <a:spAutoFit/>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algn="ctr" defTabSz="914311" eaLnBrk="1" hangingPunct="1">
              <a:lnSpc>
                <a:spcPct val="90000"/>
              </a:lnSpc>
              <a:defRPr/>
            </a:pPr>
            <a:r>
              <a:rPr lang="en-US" kern="0" dirty="0" err="1">
                <a:solidFill>
                  <a:prstClr val="black"/>
                </a:solidFill>
              </a:rPr>
              <a:t>Materiales</a:t>
            </a:r>
            <a:r>
              <a:rPr lang="en-US" kern="0" dirty="0">
                <a:solidFill>
                  <a:prstClr val="black"/>
                </a:solidFill>
              </a:rPr>
              <a:t> </a:t>
            </a:r>
            <a:r>
              <a:rPr lang="en-US" kern="0" dirty="0" err="1">
                <a:solidFill>
                  <a:prstClr val="black"/>
                </a:solidFill>
              </a:rPr>
              <a:t>Funcionales</a:t>
            </a:r>
            <a:r>
              <a:rPr lang="en-US" kern="0" dirty="0">
                <a:solidFill>
                  <a:prstClr val="black"/>
                </a:solidFill>
              </a:rPr>
              <a:t> y </a:t>
            </a:r>
            <a:r>
              <a:rPr lang="en-US" kern="0" dirty="0" err="1">
                <a:solidFill>
                  <a:prstClr val="black"/>
                </a:solidFill>
              </a:rPr>
              <a:t>Soluciones</a:t>
            </a:r>
            <a:endParaRPr lang="pt-BR" kern="0" dirty="0">
              <a:solidFill>
                <a:prstClr val="black"/>
              </a:solidFill>
            </a:endParaRPr>
          </a:p>
        </p:txBody>
      </p:sp>
      <p:sp>
        <p:nvSpPr>
          <p:cNvPr id="15" name="Text Box 45">
            <a:extLst>
              <a:ext uri="{FF2B5EF4-FFF2-40B4-BE49-F238E27FC236}">
                <a16:creationId xmlns:a16="http://schemas.microsoft.com/office/drawing/2014/main" id="{59FDE791-BDEB-46FE-ABDD-A49150F7077A}"/>
              </a:ext>
            </a:extLst>
          </p:cNvPr>
          <p:cNvSpPr txBox="1">
            <a:spLocks noChangeArrowheads="1"/>
          </p:cNvSpPr>
          <p:nvPr/>
        </p:nvSpPr>
        <p:spPr bwMode="auto">
          <a:xfrm>
            <a:off x="4051604" y="5984517"/>
            <a:ext cx="1666874" cy="424732"/>
          </a:xfrm>
          <a:prstGeom prst="rect">
            <a:avLst/>
          </a:prstGeom>
          <a:noFill/>
          <a:ln>
            <a:noFill/>
          </a:ln>
          <a:extLst/>
        </p:spPr>
        <p:txBody>
          <a:bodyPr wrap="square">
            <a:spAutoFit/>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algn="ctr" defTabSz="914311" eaLnBrk="1" hangingPunct="1">
              <a:lnSpc>
                <a:spcPct val="90000"/>
              </a:lnSpc>
              <a:defRPr/>
            </a:pPr>
            <a:r>
              <a:rPr lang="en-US" kern="0" dirty="0" err="1">
                <a:solidFill>
                  <a:prstClr val="black"/>
                </a:solidFill>
              </a:rPr>
              <a:t>Químicos</a:t>
            </a:r>
            <a:r>
              <a:rPr lang="en-US" kern="0" dirty="0">
                <a:solidFill>
                  <a:prstClr val="black"/>
                </a:solidFill>
              </a:rPr>
              <a:t> de </a:t>
            </a:r>
            <a:r>
              <a:rPr lang="en-US" kern="0" dirty="0" err="1">
                <a:solidFill>
                  <a:prstClr val="black"/>
                </a:solidFill>
              </a:rPr>
              <a:t>Rendimeinto</a:t>
            </a:r>
            <a:endParaRPr lang="pt-BR" kern="0" dirty="0">
              <a:solidFill>
                <a:prstClr val="black"/>
              </a:solidFill>
            </a:endParaRPr>
          </a:p>
        </p:txBody>
      </p:sp>
      <p:sp>
        <p:nvSpPr>
          <p:cNvPr id="16" name="Text Box 45">
            <a:extLst>
              <a:ext uri="{FF2B5EF4-FFF2-40B4-BE49-F238E27FC236}">
                <a16:creationId xmlns:a16="http://schemas.microsoft.com/office/drawing/2014/main" id="{9F71A9AB-58ED-4EEB-AFA7-46E5FE439EBB}"/>
              </a:ext>
            </a:extLst>
          </p:cNvPr>
          <p:cNvSpPr txBox="1">
            <a:spLocks noChangeArrowheads="1"/>
          </p:cNvSpPr>
          <p:nvPr/>
        </p:nvSpPr>
        <p:spPr bwMode="auto">
          <a:xfrm>
            <a:off x="1121208" y="5984517"/>
            <a:ext cx="1364530"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lgn="ctr">
                <a:solidFill>
                  <a:srgbClr val="000000"/>
                </a:solidFill>
                <a:miter lim="800000"/>
                <a:headEnd/>
                <a:tailEnd/>
              </a14:hiddenLine>
            </a:ext>
          </a:extLst>
        </p:spPr>
        <p:txBody>
          <a:bodyPr wrap="square">
            <a:spAutoFit/>
          </a:bodyPr>
          <a:lstStyle>
            <a:lvl1pPr eaLnBrk="0" hangingPunct="0">
              <a:defRPr sz="1200">
                <a:solidFill>
                  <a:schemeClr val="tx1"/>
                </a:solidFill>
                <a:latin typeface="Arial" charset="0"/>
                <a:cs typeface="Arial" charset="0"/>
              </a:defRPr>
            </a:lvl1pPr>
            <a:lvl2pPr marL="742950" indent="-285750" eaLnBrk="0" hangingPunct="0">
              <a:defRPr sz="1200">
                <a:solidFill>
                  <a:schemeClr val="tx1"/>
                </a:solidFill>
                <a:latin typeface="Arial" charset="0"/>
                <a:cs typeface="Arial" charset="0"/>
              </a:defRPr>
            </a:lvl2pPr>
            <a:lvl3pPr marL="1143000" indent="-228600" eaLnBrk="0" hangingPunct="0">
              <a:defRPr sz="1200">
                <a:solidFill>
                  <a:schemeClr val="tx1"/>
                </a:solidFill>
                <a:latin typeface="Arial" charset="0"/>
                <a:cs typeface="Arial" charset="0"/>
              </a:defRPr>
            </a:lvl3pPr>
            <a:lvl4pPr marL="1600200" indent="-228600" eaLnBrk="0" hangingPunct="0">
              <a:defRPr sz="1200">
                <a:solidFill>
                  <a:schemeClr val="tx1"/>
                </a:solidFill>
                <a:latin typeface="Arial" charset="0"/>
                <a:cs typeface="Arial" charset="0"/>
              </a:defRPr>
            </a:lvl4pPr>
            <a:lvl5pPr marL="2057400" indent="-228600" eaLnBrk="0" hangingPunct="0">
              <a:defRPr sz="1200">
                <a:solidFill>
                  <a:schemeClr val="tx1"/>
                </a:solidFill>
                <a:latin typeface="Arial" charset="0"/>
                <a:cs typeface="Arial" charset="0"/>
              </a:defRPr>
            </a:lvl5pPr>
            <a:lvl6pPr marL="2514600" indent="-228600" eaLnBrk="0" fontAlgn="base" hangingPunct="0">
              <a:spcBef>
                <a:spcPct val="0"/>
              </a:spcBef>
              <a:spcAft>
                <a:spcPct val="0"/>
              </a:spcAft>
              <a:defRPr sz="1200">
                <a:solidFill>
                  <a:schemeClr val="tx1"/>
                </a:solidFill>
                <a:latin typeface="Arial" charset="0"/>
                <a:cs typeface="Arial" charset="0"/>
              </a:defRPr>
            </a:lvl6pPr>
            <a:lvl7pPr marL="2971800" indent="-228600" eaLnBrk="0" fontAlgn="base" hangingPunct="0">
              <a:spcBef>
                <a:spcPct val="0"/>
              </a:spcBef>
              <a:spcAft>
                <a:spcPct val="0"/>
              </a:spcAft>
              <a:defRPr sz="1200">
                <a:solidFill>
                  <a:schemeClr val="tx1"/>
                </a:solidFill>
                <a:latin typeface="Arial" charset="0"/>
                <a:cs typeface="Arial" charset="0"/>
              </a:defRPr>
            </a:lvl7pPr>
            <a:lvl8pPr marL="3429000" indent="-228600" eaLnBrk="0" fontAlgn="base" hangingPunct="0">
              <a:spcBef>
                <a:spcPct val="0"/>
              </a:spcBef>
              <a:spcAft>
                <a:spcPct val="0"/>
              </a:spcAft>
              <a:defRPr sz="1200">
                <a:solidFill>
                  <a:schemeClr val="tx1"/>
                </a:solidFill>
                <a:latin typeface="Arial" charset="0"/>
                <a:cs typeface="Arial" charset="0"/>
              </a:defRPr>
            </a:lvl8pPr>
            <a:lvl9pPr marL="3886200" indent="-228600" eaLnBrk="0" fontAlgn="base" hangingPunct="0">
              <a:spcBef>
                <a:spcPct val="0"/>
              </a:spcBef>
              <a:spcAft>
                <a:spcPct val="0"/>
              </a:spcAft>
              <a:defRPr sz="1200">
                <a:solidFill>
                  <a:schemeClr val="tx1"/>
                </a:solidFill>
                <a:latin typeface="Arial" charset="0"/>
                <a:cs typeface="Arial" charset="0"/>
              </a:defRPr>
            </a:lvl9pPr>
          </a:lstStyle>
          <a:p>
            <a:pPr algn="ctr" defTabSz="914311" eaLnBrk="1" hangingPunct="1">
              <a:lnSpc>
                <a:spcPct val="90000"/>
              </a:lnSpc>
              <a:defRPr/>
            </a:pPr>
            <a:r>
              <a:rPr lang="en-US" kern="0" dirty="0" err="1">
                <a:solidFill>
                  <a:prstClr val="black"/>
                </a:solidFill>
              </a:rPr>
              <a:t>Soluciones</a:t>
            </a:r>
            <a:r>
              <a:rPr lang="en-US" kern="0" dirty="0">
                <a:solidFill>
                  <a:prstClr val="black"/>
                </a:solidFill>
              </a:rPr>
              <a:t> </a:t>
            </a:r>
            <a:r>
              <a:rPr lang="en-US" kern="0" dirty="0" err="1">
                <a:solidFill>
                  <a:prstClr val="black"/>
                </a:solidFill>
              </a:rPr>
              <a:t>Agrícolas</a:t>
            </a:r>
            <a:endParaRPr lang="pt-BR" kern="0" dirty="0">
              <a:solidFill>
                <a:prstClr val="black"/>
              </a:solidFill>
            </a:endParaRPr>
          </a:p>
        </p:txBody>
      </p:sp>
      <p:sp>
        <p:nvSpPr>
          <p:cNvPr id="17" name="Elipse 16">
            <a:extLst>
              <a:ext uri="{FF2B5EF4-FFF2-40B4-BE49-F238E27FC236}">
                <a16:creationId xmlns:a16="http://schemas.microsoft.com/office/drawing/2014/main" id="{DB0B5972-00F0-4FFF-8F80-B530403801F2}"/>
              </a:ext>
            </a:extLst>
          </p:cNvPr>
          <p:cNvSpPr/>
          <p:nvPr/>
        </p:nvSpPr>
        <p:spPr>
          <a:xfrm>
            <a:off x="1449910" y="5381127"/>
            <a:ext cx="590787" cy="480399"/>
          </a:xfrm>
          <a:prstGeom prst="ellipse">
            <a:avLst/>
          </a:prstGeom>
          <a:solidFill>
            <a:sysClr val="window" lastClr="FFFFFF">
              <a:lumMod val="95000"/>
            </a:sysClr>
          </a:solidFill>
          <a:ln w="34925">
            <a:solidFill>
              <a:schemeClr val="bg1">
                <a:lumMod val="65000"/>
              </a:schemeClr>
            </a:solidFill>
          </a:ln>
          <a:effectLst/>
        </p:spPr>
        <p:txBody>
          <a:bodyPr wrap="square" rtlCol="0" anchor="ctr">
            <a:spAutoFit/>
          </a:bodyPr>
          <a:lstStyle/>
          <a:p>
            <a:pPr algn="ctr" defTabSz="914311">
              <a:lnSpc>
                <a:spcPct val="90000"/>
              </a:lnSpc>
              <a:spcBef>
                <a:spcPts val="1300"/>
              </a:spcBef>
              <a:spcAft>
                <a:spcPts val="1300"/>
              </a:spcAft>
              <a:defRPr/>
            </a:pPr>
            <a:endParaRPr lang="en-US" b="1" kern="0" spc="-20" dirty="0">
              <a:solidFill>
                <a:prstClr val="white"/>
              </a:solidFill>
              <a:latin typeface="Century Gothic" panose="020B0502020202020204" pitchFamily="34" charset="0"/>
              <a:cs typeface="Arial" pitchFamily="34" charset="0"/>
            </a:endParaRPr>
          </a:p>
        </p:txBody>
      </p:sp>
      <p:sp>
        <p:nvSpPr>
          <p:cNvPr id="18" name="Elipse 17">
            <a:extLst>
              <a:ext uri="{FF2B5EF4-FFF2-40B4-BE49-F238E27FC236}">
                <a16:creationId xmlns:a16="http://schemas.microsoft.com/office/drawing/2014/main" id="{0818DEF2-C1E0-4880-91AA-2A0DADE2CE55}"/>
              </a:ext>
            </a:extLst>
          </p:cNvPr>
          <p:cNvSpPr/>
          <p:nvPr/>
        </p:nvSpPr>
        <p:spPr>
          <a:xfrm>
            <a:off x="3027601" y="5381127"/>
            <a:ext cx="590787" cy="480399"/>
          </a:xfrm>
          <a:prstGeom prst="ellipse">
            <a:avLst/>
          </a:prstGeom>
          <a:solidFill>
            <a:sysClr val="window" lastClr="FFFFFF">
              <a:lumMod val="95000"/>
            </a:sysClr>
          </a:solidFill>
          <a:ln w="34925">
            <a:solidFill>
              <a:schemeClr val="bg1">
                <a:lumMod val="65000"/>
              </a:schemeClr>
            </a:solidFill>
          </a:ln>
          <a:effectLst/>
        </p:spPr>
        <p:txBody>
          <a:bodyPr wrap="square" rtlCol="0" anchor="ctr">
            <a:spAutoFit/>
          </a:bodyPr>
          <a:lstStyle/>
          <a:p>
            <a:pPr algn="ctr" defTabSz="914311">
              <a:lnSpc>
                <a:spcPct val="90000"/>
              </a:lnSpc>
              <a:spcBef>
                <a:spcPts val="1300"/>
              </a:spcBef>
              <a:spcAft>
                <a:spcPts val="1300"/>
              </a:spcAft>
              <a:defRPr/>
            </a:pPr>
            <a:endParaRPr lang="en-US" b="1" kern="0" spc="-20" dirty="0">
              <a:solidFill>
                <a:prstClr val="white"/>
              </a:solidFill>
              <a:latin typeface="Century Gothic" panose="020B0502020202020204" pitchFamily="34" charset="0"/>
              <a:cs typeface="Arial" pitchFamily="34" charset="0"/>
            </a:endParaRPr>
          </a:p>
        </p:txBody>
      </p:sp>
      <p:sp>
        <p:nvSpPr>
          <p:cNvPr id="19" name="Elipse 18">
            <a:extLst>
              <a:ext uri="{FF2B5EF4-FFF2-40B4-BE49-F238E27FC236}">
                <a16:creationId xmlns:a16="http://schemas.microsoft.com/office/drawing/2014/main" id="{C990B0F0-E8E4-499D-807B-E50ED1792296}"/>
              </a:ext>
            </a:extLst>
          </p:cNvPr>
          <p:cNvSpPr/>
          <p:nvPr/>
        </p:nvSpPr>
        <p:spPr>
          <a:xfrm>
            <a:off x="4524908" y="5381127"/>
            <a:ext cx="590787" cy="480399"/>
          </a:xfrm>
          <a:prstGeom prst="ellipse">
            <a:avLst/>
          </a:prstGeom>
          <a:solidFill>
            <a:sysClr val="window" lastClr="FFFFFF">
              <a:lumMod val="95000"/>
            </a:sysClr>
          </a:solidFill>
          <a:ln w="34925">
            <a:solidFill>
              <a:schemeClr val="bg1">
                <a:lumMod val="65000"/>
              </a:schemeClr>
            </a:solidFill>
          </a:ln>
          <a:effectLst/>
        </p:spPr>
        <p:txBody>
          <a:bodyPr wrap="square" rtlCol="0" anchor="ctr">
            <a:spAutoFit/>
          </a:bodyPr>
          <a:lstStyle/>
          <a:p>
            <a:pPr algn="ctr" defTabSz="914311">
              <a:lnSpc>
                <a:spcPct val="90000"/>
              </a:lnSpc>
              <a:spcBef>
                <a:spcPts val="1300"/>
              </a:spcBef>
              <a:spcAft>
                <a:spcPts val="1300"/>
              </a:spcAft>
              <a:defRPr/>
            </a:pPr>
            <a:endParaRPr lang="en-US" b="1" kern="0" spc="-20" dirty="0">
              <a:solidFill>
                <a:prstClr val="white"/>
              </a:solidFill>
              <a:latin typeface="Century Gothic" panose="020B0502020202020204" pitchFamily="34" charset="0"/>
              <a:cs typeface="Arial" pitchFamily="34" charset="0"/>
            </a:endParaRPr>
          </a:p>
        </p:txBody>
      </p:sp>
      <p:sp>
        <p:nvSpPr>
          <p:cNvPr id="20" name="Elipse 19">
            <a:extLst>
              <a:ext uri="{FF2B5EF4-FFF2-40B4-BE49-F238E27FC236}">
                <a16:creationId xmlns:a16="http://schemas.microsoft.com/office/drawing/2014/main" id="{EB8A7E3C-A79D-40D1-85F2-866F58E269DE}"/>
              </a:ext>
            </a:extLst>
          </p:cNvPr>
          <p:cNvSpPr/>
          <p:nvPr/>
        </p:nvSpPr>
        <p:spPr>
          <a:xfrm>
            <a:off x="7519522" y="5381127"/>
            <a:ext cx="590787" cy="480399"/>
          </a:xfrm>
          <a:prstGeom prst="ellipse">
            <a:avLst/>
          </a:prstGeom>
          <a:solidFill>
            <a:sysClr val="window" lastClr="FFFFFF">
              <a:lumMod val="95000"/>
            </a:sysClr>
          </a:solidFill>
          <a:ln w="34925">
            <a:solidFill>
              <a:schemeClr val="bg1">
                <a:lumMod val="65000"/>
              </a:schemeClr>
            </a:solidFill>
          </a:ln>
          <a:effectLst/>
        </p:spPr>
        <p:txBody>
          <a:bodyPr wrap="square" rtlCol="0" anchor="ctr">
            <a:spAutoFit/>
          </a:bodyPr>
          <a:lstStyle/>
          <a:p>
            <a:pPr algn="ctr" defTabSz="914311">
              <a:lnSpc>
                <a:spcPct val="90000"/>
              </a:lnSpc>
              <a:spcBef>
                <a:spcPts val="1300"/>
              </a:spcBef>
              <a:spcAft>
                <a:spcPts val="1300"/>
              </a:spcAft>
              <a:defRPr/>
            </a:pPr>
            <a:endParaRPr lang="en-US" b="1" kern="0" spc="-20" dirty="0">
              <a:solidFill>
                <a:prstClr val="white"/>
              </a:solidFill>
              <a:latin typeface="Century Gothic" panose="020B0502020202020204" pitchFamily="34" charset="0"/>
              <a:cs typeface="Arial" pitchFamily="34" charset="0"/>
            </a:endParaRPr>
          </a:p>
        </p:txBody>
      </p:sp>
      <p:sp>
        <p:nvSpPr>
          <p:cNvPr id="21" name="Elipse 20">
            <a:extLst>
              <a:ext uri="{FF2B5EF4-FFF2-40B4-BE49-F238E27FC236}">
                <a16:creationId xmlns:a16="http://schemas.microsoft.com/office/drawing/2014/main" id="{3DD855F4-AAB7-474D-8D6B-8ECA6A4B5E9B}"/>
              </a:ext>
            </a:extLst>
          </p:cNvPr>
          <p:cNvSpPr/>
          <p:nvPr/>
        </p:nvSpPr>
        <p:spPr>
          <a:xfrm>
            <a:off x="9016828" y="5381127"/>
            <a:ext cx="590787" cy="480399"/>
          </a:xfrm>
          <a:prstGeom prst="ellipse">
            <a:avLst/>
          </a:prstGeom>
          <a:solidFill>
            <a:sysClr val="window" lastClr="FFFFFF">
              <a:lumMod val="95000"/>
            </a:sysClr>
          </a:solidFill>
          <a:ln w="34925">
            <a:solidFill>
              <a:schemeClr val="bg1">
                <a:lumMod val="65000"/>
              </a:schemeClr>
            </a:solidFill>
          </a:ln>
          <a:effectLst/>
        </p:spPr>
        <p:txBody>
          <a:bodyPr wrap="square" rtlCol="0" anchor="ctr">
            <a:spAutoFit/>
          </a:bodyPr>
          <a:lstStyle/>
          <a:p>
            <a:pPr algn="ctr" defTabSz="914311">
              <a:lnSpc>
                <a:spcPct val="90000"/>
              </a:lnSpc>
              <a:spcBef>
                <a:spcPts val="1300"/>
              </a:spcBef>
              <a:spcAft>
                <a:spcPts val="1300"/>
              </a:spcAft>
              <a:defRPr/>
            </a:pPr>
            <a:endParaRPr lang="en-US" b="1" kern="0" spc="-20" dirty="0">
              <a:solidFill>
                <a:prstClr val="white"/>
              </a:solidFill>
              <a:latin typeface="Century Gothic" panose="020B0502020202020204" pitchFamily="34" charset="0"/>
              <a:cs typeface="Arial" pitchFamily="34" charset="0"/>
            </a:endParaRPr>
          </a:p>
        </p:txBody>
      </p:sp>
      <p:sp>
        <p:nvSpPr>
          <p:cNvPr id="22" name="Elipse 21">
            <a:extLst>
              <a:ext uri="{FF2B5EF4-FFF2-40B4-BE49-F238E27FC236}">
                <a16:creationId xmlns:a16="http://schemas.microsoft.com/office/drawing/2014/main" id="{BC1A10A4-025A-404F-93C9-DCE543758BCF}"/>
              </a:ext>
            </a:extLst>
          </p:cNvPr>
          <p:cNvSpPr/>
          <p:nvPr/>
        </p:nvSpPr>
        <p:spPr>
          <a:xfrm>
            <a:off x="6022215" y="5381127"/>
            <a:ext cx="590787" cy="480399"/>
          </a:xfrm>
          <a:prstGeom prst="ellipse">
            <a:avLst/>
          </a:prstGeom>
          <a:solidFill>
            <a:sysClr val="window" lastClr="FFFFFF">
              <a:lumMod val="95000"/>
            </a:sysClr>
          </a:solidFill>
          <a:ln w="34925">
            <a:solidFill>
              <a:schemeClr val="bg1">
                <a:lumMod val="65000"/>
              </a:schemeClr>
            </a:solidFill>
          </a:ln>
          <a:effectLst/>
        </p:spPr>
        <p:txBody>
          <a:bodyPr wrap="square" rtlCol="0" anchor="ctr">
            <a:spAutoFit/>
          </a:bodyPr>
          <a:lstStyle/>
          <a:p>
            <a:pPr algn="ctr" defTabSz="914311">
              <a:lnSpc>
                <a:spcPct val="90000"/>
              </a:lnSpc>
              <a:spcBef>
                <a:spcPts val="1300"/>
              </a:spcBef>
              <a:spcAft>
                <a:spcPts val="1300"/>
              </a:spcAft>
              <a:defRPr/>
            </a:pPr>
            <a:endParaRPr lang="en-US" b="1" kern="0" spc="-20" dirty="0">
              <a:solidFill>
                <a:prstClr val="white"/>
              </a:solidFill>
              <a:latin typeface="Century Gothic" panose="020B0502020202020204" pitchFamily="34" charset="0"/>
              <a:cs typeface="Arial" pitchFamily="34" charset="0"/>
            </a:endParaRPr>
          </a:p>
        </p:txBody>
      </p:sp>
      <p:pic>
        <p:nvPicPr>
          <p:cNvPr id="23" name="Picture 73" descr="Z:\IMAGENS\ICONES ORGANIZADOS\FOOD\27834.png">
            <a:extLst>
              <a:ext uri="{FF2B5EF4-FFF2-40B4-BE49-F238E27FC236}">
                <a16:creationId xmlns:a16="http://schemas.microsoft.com/office/drawing/2014/main" id="{A56D25E7-C63F-42C5-8095-8771E3C11F80}"/>
              </a:ext>
            </a:extLst>
          </p:cNvPr>
          <p:cNvPicPr>
            <a:picLocks noChangeAspect="1" noChangeArrowheads="1"/>
          </p:cNvPicPr>
          <p:nvPr/>
        </p:nvPicPr>
        <p:blipFill>
          <a:blip r:embed="rId3" cstate="print">
            <a:duotone>
              <a:srgbClr val="00793A">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584892" y="5433656"/>
            <a:ext cx="387715" cy="39528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75" descr="Z:\IMAGENS\ICONES ORGANIZADOS\SCIENCE\32094.png">
            <a:extLst>
              <a:ext uri="{FF2B5EF4-FFF2-40B4-BE49-F238E27FC236}">
                <a16:creationId xmlns:a16="http://schemas.microsoft.com/office/drawing/2014/main" id="{C6D37EB5-D3DE-4166-A14B-F4216A3181F4}"/>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94875" y="5405194"/>
            <a:ext cx="450850" cy="45085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79" descr="Z:\IMAGENS\ICONES ORGANIZADOS\ART\47547.png">
            <a:extLst>
              <a:ext uri="{FF2B5EF4-FFF2-40B4-BE49-F238E27FC236}">
                <a16:creationId xmlns:a16="http://schemas.microsoft.com/office/drawing/2014/main" id="{95C9AF15-F268-4729-A062-C8B2346D53CA}"/>
              </a:ext>
            </a:extLst>
          </p:cNvPr>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3069517" y="5371750"/>
            <a:ext cx="498788" cy="49878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6" name="Picture 83" descr="Z:\IMAGENS\ICONES ORGANIZADOS\SCIENCE\9821.png">
            <a:extLst>
              <a:ext uri="{FF2B5EF4-FFF2-40B4-BE49-F238E27FC236}">
                <a16:creationId xmlns:a16="http://schemas.microsoft.com/office/drawing/2014/main" id="{1CFE47EA-AEA1-40C2-A220-E5DCA7C2C11D}"/>
              </a:ext>
            </a:extLst>
          </p:cNvPr>
          <p:cNvPicPr>
            <a:picLocks noChangeAspect="1" noChangeArrowheads="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09721" y="5431177"/>
            <a:ext cx="339284" cy="40024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10" descr="Z:\IMAGENS\ICONES ORGANIZADOS\BUSINESS\Imagem1.png">
            <a:extLst>
              <a:ext uri="{FF2B5EF4-FFF2-40B4-BE49-F238E27FC236}">
                <a16:creationId xmlns:a16="http://schemas.microsoft.com/office/drawing/2014/main" id="{A98FE485-375C-461B-82A4-168FBA36E79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127150" y="5409073"/>
            <a:ext cx="424358" cy="424358"/>
          </a:xfrm>
          <a:prstGeom prst="rect">
            <a:avLst/>
          </a:prstGeom>
          <a:noFill/>
          <a:extLst>
            <a:ext uri="{909E8E84-426E-40DD-AFC4-6F175D3DCCD1}">
              <a14:hiddenFill xmlns:a14="http://schemas.microsoft.com/office/drawing/2010/main">
                <a:solidFill>
                  <a:srgbClr val="FFFFFF"/>
                </a:solidFill>
              </a14:hiddenFill>
            </a:ext>
          </a:extLst>
        </p:spPr>
      </p:pic>
      <p:pic>
        <p:nvPicPr>
          <p:cNvPr id="28" name="Imagem 1">
            <a:extLst>
              <a:ext uri="{FF2B5EF4-FFF2-40B4-BE49-F238E27FC236}">
                <a16:creationId xmlns:a16="http://schemas.microsoft.com/office/drawing/2014/main" id="{42461F54-7012-447E-B591-EC84DF87D8CC}"/>
              </a:ext>
            </a:extLst>
          </p:cNvPr>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103875" y="5391567"/>
            <a:ext cx="451276" cy="419327"/>
          </a:xfrm>
          <a:prstGeom prst="rect">
            <a:avLst/>
          </a:prstGeom>
        </p:spPr>
      </p:pic>
    </p:spTree>
    <p:extLst>
      <p:ext uri="{BB962C8B-B14F-4D97-AF65-F5344CB8AC3E}">
        <p14:creationId xmlns:p14="http://schemas.microsoft.com/office/powerpoint/2010/main" val="36580238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454FDB3-8C68-45E1-B8CE-61FD1802E64C}"/>
              </a:ext>
            </a:extLst>
          </p:cNvPr>
          <p:cNvSpPr>
            <a:spLocks noGrp="1"/>
          </p:cNvSpPr>
          <p:nvPr>
            <p:ph type="title"/>
          </p:nvPr>
        </p:nvSpPr>
        <p:spPr/>
        <p:txBody>
          <a:bodyPr/>
          <a:lstStyle/>
          <a:p>
            <a:r>
              <a:rPr lang="es-PE" dirty="0"/>
              <a:t>BASF Peruana  S.A.</a:t>
            </a:r>
          </a:p>
        </p:txBody>
      </p:sp>
      <p:sp>
        <p:nvSpPr>
          <p:cNvPr id="4" name="Marcador de número de diapositiva 3">
            <a:extLst>
              <a:ext uri="{FF2B5EF4-FFF2-40B4-BE49-F238E27FC236}">
                <a16:creationId xmlns:a16="http://schemas.microsoft.com/office/drawing/2014/main" id="{20127408-1B97-444D-A6F7-AA1528AA56BB}"/>
              </a:ext>
            </a:extLst>
          </p:cNvPr>
          <p:cNvSpPr>
            <a:spLocks noGrp="1"/>
          </p:cNvSpPr>
          <p:nvPr>
            <p:ph type="sldNum" sz="quarter" idx="10"/>
          </p:nvPr>
        </p:nvSpPr>
        <p:spPr/>
        <p:txBody>
          <a:bodyPr/>
          <a:lstStyle/>
          <a:p>
            <a:fld id="{9ED39FAB-3417-4E61-A69A-10C0CE33FFC4}" type="slidenum">
              <a:rPr lang="de-DE" smtClean="0"/>
              <a:pPr/>
              <a:t>7</a:t>
            </a:fld>
            <a:endParaRPr lang="de-DE"/>
          </a:p>
        </p:txBody>
      </p:sp>
      <p:pic>
        <p:nvPicPr>
          <p:cNvPr id="5" name="Picture 5" descr="BP_fachada">
            <a:extLst>
              <a:ext uri="{FF2B5EF4-FFF2-40B4-BE49-F238E27FC236}">
                <a16:creationId xmlns:a16="http://schemas.microsoft.com/office/drawing/2014/main" id="{79DA997F-B0F6-42A4-BCD0-D1ADA2C217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9682" y="1695635"/>
            <a:ext cx="8229600" cy="509599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6">
            <a:extLst>
              <a:ext uri="{FF2B5EF4-FFF2-40B4-BE49-F238E27FC236}">
                <a16:creationId xmlns:a16="http://schemas.microsoft.com/office/drawing/2014/main" id="{52783E4D-1221-4CAF-96AE-DA516FC439C6}"/>
              </a:ext>
            </a:extLst>
          </p:cNvPr>
          <p:cNvSpPr>
            <a:spLocks noChangeArrowheads="1"/>
          </p:cNvSpPr>
          <p:nvPr/>
        </p:nvSpPr>
        <p:spPr bwMode="auto">
          <a:xfrm>
            <a:off x="3178882" y="5441139"/>
            <a:ext cx="7391400" cy="873599"/>
          </a:xfrm>
          <a:prstGeom prst="rect">
            <a:avLst/>
          </a:prstGeom>
          <a:solidFill>
            <a:schemeClr val="bg1">
              <a:alpha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PE"/>
          </a:p>
        </p:txBody>
      </p:sp>
      <p:sp>
        <p:nvSpPr>
          <p:cNvPr id="7" name="Rectangle 3">
            <a:extLst>
              <a:ext uri="{FF2B5EF4-FFF2-40B4-BE49-F238E27FC236}">
                <a16:creationId xmlns:a16="http://schemas.microsoft.com/office/drawing/2014/main" id="{2C49AF95-C257-4301-940E-A5366E799220}"/>
              </a:ext>
            </a:extLst>
          </p:cNvPr>
          <p:cNvSpPr>
            <a:spLocks noGrp="1" noChangeArrowheads="1"/>
          </p:cNvSpPr>
          <p:nvPr>
            <p:ph type="body" idx="1"/>
          </p:nvPr>
        </p:nvSpPr>
        <p:spPr>
          <a:xfrm>
            <a:off x="3559882" y="5519564"/>
            <a:ext cx="6834188" cy="940332"/>
          </a:xfrm>
        </p:spPr>
        <p:txBody>
          <a:bodyPr/>
          <a:lstStyle/>
          <a:p>
            <a:pPr>
              <a:buFont typeface="Wingdings" panose="05000000000000000000" pitchFamily="2" charset="2"/>
              <a:buNone/>
            </a:pPr>
            <a:r>
              <a:rPr lang="es-ES" altLang="es-PE"/>
              <a:t>Fecha de Fundación: 31.Dic.1956</a:t>
            </a:r>
          </a:p>
          <a:p>
            <a:pPr>
              <a:buClr>
                <a:schemeClr val="accent2"/>
              </a:buClr>
              <a:buFont typeface="Wingdings" panose="05000000000000000000" pitchFamily="2" charset="2"/>
              <a:buChar char="à"/>
            </a:pPr>
            <a:r>
              <a:rPr lang="es-ES" altLang="es-PE"/>
              <a:t>“Química Peruanil”</a:t>
            </a:r>
          </a:p>
        </p:txBody>
      </p:sp>
    </p:spTree>
    <p:extLst>
      <p:ext uri="{BB962C8B-B14F-4D97-AF65-F5344CB8AC3E}">
        <p14:creationId xmlns:p14="http://schemas.microsoft.com/office/powerpoint/2010/main" val="1327066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nvPr>
        </p:nvGraphicFramePr>
        <p:xfrm>
          <a:off x="1523206" y="0"/>
          <a:ext cx="158750" cy="158750"/>
        </p:xfrm>
        <a:graphic>
          <a:graphicData uri="http://schemas.openxmlformats.org/presentationml/2006/ole">
            <mc:AlternateContent xmlns:mc="http://schemas.openxmlformats.org/markup-compatibility/2006">
              <mc:Choice xmlns:v="urn:schemas-microsoft-com:vml" Requires="v">
                <p:oleObj spid="_x0000_s71714" name="think-cell Folie" r:id="rId5" imgW="360" imgH="360" progId="TCLayout.ActiveDocument.1">
                  <p:embed/>
                </p:oleObj>
              </mc:Choice>
              <mc:Fallback>
                <p:oleObj name="think-cell Folie" r:id="rId5" imgW="360" imgH="360" progId="TCLayout.ActiveDocument.1">
                  <p:embed/>
                  <p:pic>
                    <p:nvPicPr>
                      <p:cNvPr id="4" name="Objek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3206"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457" name="Titel 2"/>
          <p:cNvSpPr>
            <a:spLocks noGrp="1"/>
          </p:cNvSpPr>
          <p:nvPr>
            <p:ph type="title"/>
          </p:nvPr>
        </p:nvSpPr>
        <p:spPr/>
        <p:txBody>
          <a:bodyPr/>
          <a:lstStyle/>
          <a:p>
            <a:pPr algn="l" rtl="0">
              <a:spcBef>
                <a:spcPct val="0"/>
              </a:spcBef>
            </a:pPr>
            <a:r>
              <a:rPr lang="en-US" b="1" i="0" u="none" dirty="0"/>
              <a:t>Cambio </a:t>
            </a:r>
            <a:r>
              <a:rPr lang="en-US" b="1" i="0" u="none" dirty="0" err="1"/>
              <a:t>Climático</a:t>
            </a:r>
            <a:r>
              <a:rPr lang="en-US" b="1" i="0" u="none" dirty="0"/>
              <a:t> - BASF</a:t>
            </a:r>
          </a:p>
        </p:txBody>
      </p:sp>
      <p:sp>
        <p:nvSpPr>
          <p:cNvPr id="2" name="Foliennummernplatzhalter 1"/>
          <p:cNvSpPr>
            <a:spLocks noGrp="1"/>
          </p:cNvSpPr>
          <p:nvPr>
            <p:ph type="sldNum" sz="quarter" idx="10"/>
          </p:nvPr>
        </p:nvSpPr>
        <p:spPr/>
        <p:txBody>
          <a:bodyPr/>
          <a:lstStyle/>
          <a:p>
            <a:pPr marL="0" marR="0" lvl="0" indent="0" algn="r" defTabSz="914400" rtl="0" eaLnBrk="1" fontAlgn="auto" latinLnBrk="0" hangingPunct="1">
              <a:lnSpc>
                <a:spcPct val="100000"/>
              </a:lnSpc>
              <a:spcBef>
                <a:spcPct val="110000"/>
              </a:spcBef>
              <a:spcAft>
                <a:spcPct val="110000"/>
              </a:spcAft>
              <a:buClrTx/>
              <a:buSzTx/>
              <a:buFontTx/>
              <a:buNone/>
              <a:tabLst/>
              <a:defRPr/>
            </a:pPr>
            <a:fld id="{58F8B7A0-D549-4FD1-AE78-D1C36FE8F368}" type="slidenum">
              <a:rPr kumimoji="0" lang="de-DE" sz="800" b="0" i="0" u="none" strike="noStrike" kern="1200" cap="none" spc="0" normalizeH="0" baseline="0" noProof="0" smtClean="0">
                <a:ln>
                  <a:noFill/>
                </a:ln>
                <a:solidFill>
                  <a:srgbClr val="000000">
                    <a:tint val="75000"/>
                  </a:srgbClr>
                </a:solidFill>
                <a:effectLst/>
                <a:uLnTx/>
                <a:uFillTx/>
                <a:latin typeface="Arial"/>
                <a:cs typeface="Arial"/>
              </a:rPr>
              <a:pPr marL="0" marR="0" lvl="0" indent="0" algn="r" defTabSz="914400" rtl="0" eaLnBrk="1" fontAlgn="auto" latinLnBrk="0" hangingPunct="1">
                <a:lnSpc>
                  <a:spcPct val="100000"/>
                </a:lnSpc>
                <a:spcBef>
                  <a:spcPct val="110000"/>
                </a:spcBef>
                <a:spcAft>
                  <a:spcPct val="110000"/>
                </a:spcAft>
                <a:buClrTx/>
                <a:buSzTx/>
                <a:buFontTx/>
                <a:buNone/>
                <a:tabLst/>
                <a:defRPr/>
              </a:pPr>
              <a:t>8</a:t>
            </a:fld>
            <a:endParaRPr kumimoji="0" lang="de-DE" sz="800" b="0" i="0" u="none" strike="noStrike" kern="1200" cap="none" spc="0" normalizeH="0" baseline="0" noProof="0">
              <a:ln>
                <a:noFill/>
              </a:ln>
              <a:solidFill>
                <a:srgbClr val="000000">
                  <a:tint val="75000"/>
                </a:srgbClr>
              </a:solidFill>
              <a:effectLst/>
              <a:uLnTx/>
              <a:uFillTx/>
              <a:latin typeface="Arial"/>
              <a:cs typeface="Arial"/>
            </a:endParaRPr>
          </a:p>
        </p:txBody>
      </p:sp>
      <p:sp>
        <p:nvSpPr>
          <p:cNvPr id="19458" name="Inhaltsplatzhalter 3"/>
          <p:cNvSpPr>
            <a:spLocks noGrp="1"/>
          </p:cNvSpPr>
          <p:nvPr>
            <p:ph type="body" idx="4294967295"/>
          </p:nvPr>
        </p:nvSpPr>
        <p:spPr>
          <a:xfrm>
            <a:off x="216000" y="1980000"/>
            <a:ext cx="6167238" cy="4436675"/>
          </a:xfrm>
        </p:spPr>
        <p:txBody>
          <a:bodyPr>
            <a:normAutofit fontScale="92500" lnSpcReduction="10000"/>
          </a:bodyPr>
          <a:lstStyle/>
          <a:p>
            <a:pPr marL="363538" indent="-363538" algn="just">
              <a:lnSpc>
                <a:spcPct val="110000"/>
              </a:lnSpc>
              <a:spcBef>
                <a:spcPts val="1800"/>
              </a:spcBef>
              <a:spcAft>
                <a:spcPts val="0"/>
              </a:spcAft>
            </a:pPr>
            <a:r>
              <a:rPr lang="es-ES" sz="1800" dirty="0"/>
              <a:t>Los datos combinados de temperatura de la superficie terrestre y oceánica promediados globalmente muestran un calentamiento de 0.85 ° C durante el período de 1880 a 2012.</a:t>
            </a:r>
          </a:p>
          <a:p>
            <a:pPr marL="363538" indent="-363538" algn="just">
              <a:lnSpc>
                <a:spcPct val="110000"/>
              </a:lnSpc>
              <a:spcBef>
                <a:spcPts val="1800"/>
              </a:spcBef>
              <a:spcAft>
                <a:spcPts val="0"/>
              </a:spcAft>
            </a:pPr>
            <a:r>
              <a:rPr lang="es-ES" sz="1800" dirty="0"/>
              <a:t>Es muy probable que la influencia humana haya sido la causa dominante del calentamiento observado desde mediados del siglo XX.</a:t>
            </a:r>
          </a:p>
          <a:p>
            <a:pPr marL="363538" indent="-363538" algn="just">
              <a:lnSpc>
                <a:spcPct val="110000"/>
              </a:lnSpc>
              <a:spcBef>
                <a:spcPts val="1800"/>
              </a:spcBef>
              <a:spcAft>
                <a:spcPts val="0"/>
              </a:spcAft>
            </a:pPr>
            <a:r>
              <a:rPr lang="es-ES" sz="1800" dirty="0"/>
              <a:t>La emisión continua de gases de efecto invernadero causará un mayor calentamiento y cambios duraderos en todos los componentes del sistema climático.</a:t>
            </a:r>
          </a:p>
          <a:p>
            <a:pPr marL="363538" indent="-363538" algn="just">
              <a:lnSpc>
                <a:spcPct val="110000"/>
              </a:lnSpc>
              <a:spcBef>
                <a:spcPts val="1800"/>
              </a:spcBef>
              <a:spcAft>
                <a:spcPts val="0"/>
              </a:spcAft>
            </a:pPr>
            <a:r>
              <a:rPr lang="es-ES" sz="1800" dirty="0"/>
              <a:t>Los riesgos existentes relacionados con el clima (por ejemplo, los fenómenos meteorológicos extremos, el aumento de las sequías o las precipitaciones, el aumento del nivel del mar) aumentarán.</a:t>
            </a:r>
            <a:endParaRPr lang="en-US" sz="1800" b="0" i="0" u="none" dirty="0">
              <a:sym typeface="Wingdings" pitchFamily="2" charset="2"/>
            </a:endParaRPr>
          </a:p>
        </p:txBody>
      </p:sp>
      <p:sp>
        <p:nvSpPr>
          <p:cNvPr id="19460" name="Text Box 4"/>
          <p:cNvSpPr txBox="1">
            <a:spLocks noChangeArrowheads="1"/>
          </p:cNvSpPr>
          <p:nvPr/>
        </p:nvSpPr>
        <p:spPr bwMode="auto">
          <a:xfrm>
            <a:off x="1739106" y="287338"/>
            <a:ext cx="4356100" cy="247650"/>
          </a:xfrm>
          <a:prstGeom prst="rect">
            <a:avLst/>
          </a:prstGeom>
          <a:noFill/>
          <a:ln w="9525" algn="ctr">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cs typeface="Arial"/>
              <a:sym typeface="Arial"/>
            </a:endParaRPr>
          </a:p>
        </p:txBody>
      </p:sp>
      <p:sp>
        <p:nvSpPr>
          <p:cNvPr id="19461" name="Text Box 10"/>
          <p:cNvSpPr txBox="1">
            <a:spLocks noChangeArrowheads="1"/>
          </p:cNvSpPr>
          <p:nvPr/>
        </p:nvSpPr>
        <p:spPr bwMode="auto">
          <a:xfrm>
            <a:off x="223301" y="6578096"/>
            <a:ext cx="5969000" cy="153988"/>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808080"/>
                </a:solidFill>
                <a:effectLst/>
                <a:uLnTx/>
                <a:uFillTx/>
                <a:latin typeface="Arial" pitchFamily="34" charset="0"/>
                <a:cs typeface="Arial" pitchFamily="34" charset="0"/>
              </a:rPr>
              <a:t>Source: IPCC, 5th Assessment Report, Synthesis Report, 2014.</a:t>
            </a:r>
          </a:p>
        </p:txBody>
      </p:sp>
      <p:pic>
        <p:nvPicPr>
          <p:cNvPr id="13" name="Picture 36" descr="X:\ZOA-CP\35296_Publications\2013\Daten und Fakten Folien\Dokumentation\Charts 2012\8. Energie und Klima\Grafik\shutterstock_21955486[1].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11030"/>
          <a:stretch/>
        </p:blipFill>
        <p:spPr bwMode="auto">
          <a:xfrm>
            <a:off x="7859402" y="2276872"/>
            <a:ext cx="3363578" cy="3252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0486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kt 3" hidden="1"/>
          <p:cNvGraphicFramePr>
            <a:graphicFrameLocks noChangeAspect="1"/>
          </p:cNvGraphicFramePr>
          <p:nvPr>
            <p:custDataLst>
              <p:tags r:id="rId2"/>
            </p:custDataLst>
            <p:extLst/>
          </p:nvPr>
        </p:nvGraphicFramePr>
        <p:xfrm>
          <a:off x="1523206" y="0"/>
          <a:ext cx="158750" cy="158750"/>
        </p:xfrm>
        <a:graphic>
          <a:graphicData uri="http://schemas.openxmlformats.org/presentationml/2006/ole">
            <mc:AlternateContent xmlns:mc="http://schemas.openxmlformats.org/markup-compatibility/2006">
              <mc:Choice xmlns:v="urn:schemas-microsoft-com:vml" Requires="v">
                <p:oleObj spid="_x0000_s40995" name="think-cell Folie" r:id="rId5" imgW="360" imgH="360" progId="TCLayout.ActiveDocument.1">
                  <p:embed/>
                </p:oleObj>
              </mc:Choice>
              <mc:Fallback>
                <p:oleObj name="think-cell Folie" r:id="rId5" imgW="360" imgH="360" progId="TCLayout.ActiveDocument.1">
                  <p:embed/>
                  <p:pic>
                    <p:nvPicPr>
                      <p:cNvPr id="6146" name="Objek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3206"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51" name="Rectangle 2"/>
          <p:cNvSpPr>
            <a:spLocks noGrp="1" noChangeArrowheads="1"/>
          </p:cNvSpPr>
          <p:nvPr>
            <p:ph type="title"/>
          </p:nvPr>
        </p:nvSpPr>
        <p:spPr/>
        <p:txBody>
          <a:bodyPr/>
          <a:lstStyle/>
          <a:p>
            <a:r>
              <a:rPr lang="en-US" dirty="0" err="1"/>
              <a:t>Nuestras</a:t>
            </a:r>
            <a:r>
              <a:rPr lang="en-US" dirty="0"/>
              <a:t> </a:t>
            </a:r>
            <a:r>
              <a:rPr lang="en-US" dirty="0" err="1"/>
              <a:t>Metas</a:t>
            </a:r>
            <a:r>
              <a:rPr lang="en-US" dirty="0"/>
              <a:t> </a:t>
            </a:r>
          </a:p>
        </p:txBody>
      </p:sp>
      <p:sp>
        <p:nvSpPr>
          <p:cNvPr id="3" name="Foliennummernplatzhalter 2"/>
          <p:cNvSpPr>
            <a:spLocks noGrp="1"/>
          </p:cNvSpPr>
          <p:nvPr>
            <p:ph type="sldNum" sz="quarter" idx="10"/>
          </p:nvPr>
        </p:nvSpPr>
        <p:spPr/>
        <p:txBody>
          <a:bodyPr/>
          <a:lstStyle/>
          <a:p>
            <a:fld id="{58F8B7A0-D549-4FD1-AE78-D1C36FE8F368}" type="slidenum">
              <a:rPr lang="en-US" smtClean="0"/>
              <a:pPr/>
              <a:t>9</a:t>
            </a:fld>
            <a:endParaRPr lang="en-US" dirty="0"/>
          </a:p>
        </p:txBody>
      </p:sp>
      <p:pic>
        <p:nvPicPr>
          <p:cNvPr id="2" name="Imagen 1">
            <a:extLst>
              <a:ext uri="{FF2B5EF4-FFF2-40B4-BE49-F238E27FC236}">
                <a16:creationId xmlns:a16="http://schemas.microsoft.com/office/drawing/2014/main" id="{C20997F9-C6B8-4B25-81ED-312058FA6EF9}"/>
              </a:ext>
            </a:extLst>
          </p:cNvPr>
          <p:cNvPicPr>
            <a:picLocks noChangeAspect="1"/>
          </p:cNvPicPr>
          <p:nvPr/>
        </p:nvPicPr>
        <p:blipFill>
          <a:blip r:embed="rId7"/>
          <a:stretch>
            <a:fillRect/>
          </a:stretch>
        </p:blipFill>
        <p:spPr>
          <a:xfrm>
            <a:off x="1332655" y="4509121"/>
            <a:ext cx="9648824" cy="2136480"/>
          </a:xfrm>
          <a:prstGeom prst="rect">
            <a:avLst/>
          </a:prstGeom>
        </p:spPr>
      </p:pic>
      <p:pic>
        <p:nvPicPr>
          <p:cNvPr id="4" name="Imagen 3">
            <a:extLst>
              <a:ext uri="{FF2B5EF4-FFF2-40B4-BE49-F238E27FC236}">
                <a16:creationId xmlns:a16="http://schemas.microsoft.com/office/drawing/2014/main" id="{44300A7A-C8F3-410F-A4FF-53CE967F903F}"/>
              </a:ext>
            </a:extLst>
          </p:cNvPr>
          <p:cNvPicPr>
            <a:picLocks noChangeAspect="1"/>
          </p:cNvPicPr>
          <p:nvPr/>
        </p:nvPicPr>
        <p:blipFill>
          <a:blip r:embed="rId8"/>
          <a:stretch>
            <a:fillRect/>
          </a:stretch>
        </p:blipFill>
        <p:spPr>
          <a:xfrm>
            <a:off x="1332618" y="1825151"/>
            <a:ext cx="9648825" cy="2244737"/>
          </a:xfrm>
          <a:prstGeom prst="rect">
            <a:avLst/>
          </a:prstGeom>
        </p:spPr>
      </p:pic>
      <p:cxnSp>
        <p:nvCxnSpPr>
          <p:cNvPr id="23" name="Gerade Verbindung 11">
            <a:extLst>
              <a:ext uri="{FF2B5EF4-FFF2-40B4-BE49-F238E27FC236}">
                <a16:creationId xmlns:a16="http://schemas.microsoft.com/office/drawing/2014/main" id="{B3D752B6-6F0A-4099-A4E9-376DF3516667}"/>
              </a:ext>
            </a:extLst>
          </p:cNvPr>
          <p:cNvCxnSpPr/>
          <p:nvPr/>
        </p:nvCxnSpPr>
        <p:spPr>
          <a:xfrm>
            <a:off x="3070870" y="4221088"/>
            <a:ext cx="7632000" cy="0"/>
          </a:xfrm>
          <a:prstGeom prst="line">
            <a:avLst/>
          </a:prstGeom>
          <a:ln w="28575" cap="rnd">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219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WIZCOLOR1" val="16777215/0/11119017/0/13803553/14926965/15455387/16314330/////////"/>
  <p:tag name="WIZCOLOR2" val="16777215/0/11119017/0/13803553/14926965/15455387/16314330/////////"/>
  <p:tag name="THINKCELLUNDODONOTDELETE" val="1"/>
  <p:tag name="_BASF_WIZARD_LAYOUTID" val="258"/>
  <p:tag name="_BASF_WIZARD_VERSION" val="7.1.0"/>
  <p:tag name="_BASF_CLASSIFICATION" val="0"/>
  <p:tag name="_BASF_CLASSIFICATION_LANGUAGE" val="1031"/>
  <p:tag name="_BASF_WIZARD_OBJEKTTITELID" val="120"/>
  <p:tag name="_BASF_WIZARD_OBJEKTFOLIEID" val="110"/>
  <p:tag name="_BASF_WIZARD_GROUPID" val="0"/>
  <p:tag name="_BASF_CONVERTED_TO_TAGS" val="1"/>
  <p:tag name="_BASF_WIZARD_LOGO2015" val="1"/>
</p:tagLst>
</file>

<file path=ppt/tags/tag10.xml><?xml version="1.0" encoding="utf-8"?>
<p:tagLst xmlns:a="http://schemas.openxmlformats.org/drawingml/2006/main" xmlns:r="http://schemas.openxmlformats.org/officeDocument/2006/relationships" xmlns:p="http://schemas.openxmlformats.org/presentationml/2006/main">
  <p:tag name="WIZPLACEHOLDER" val="1"/>
</p:tagLst>
</file>

<file path=ppt/tags/tag11.xml><?xml version="1.0" encoding="utf-8"?>
<p:tagLst xmlns:a="http://schemas.openxmlformats.org/drawingml/2006/main" xmlns:r="http://schemas.openxmlformats.org/officeDocument/2006/relationships" xmlns:p="http://schemas.openxmlformats.org/presentationml/2006/main">
  <p:tag name="POSITION" val="0,6/0/3,8/19,05"/>
  <p:tag name="LOCKED" val="1"/>
</p:tagLst>
</file>

<file path=ppt/tags/tag12.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13.xml><?xml version="1.0" encoding="utf-8"?>
<p:tagLst xmlns:a="http://schemas.openxmlformats.org/drawingml/2006/main" xmlns:r="http://schemas.openxmlformats.org/officeDocument/2006/relationships" xmlns:p="http://schemas.openxmlformats.org/presentationml/2006/main">
  <p:tag name="POSITION" val="5/5/19,8/13"/>
  <p:tag name="LOCKED" val="1"/>
  <p:tag name="WIZSHAPE" val="WizShape"/>
  <p:tag name="VISIBLE" val="System.Xml.XmlAttribute"/>
</p:tagLst>
</file>

<file path=ppt/tags/tag14.xml><?xml version="1.0" encoding="utf-8"?>
<p:tagLst xmlns:a="http://schemas.openxmlformats.org/drawingml/2006/main" xmlns:r="http://schemas.openxmlformats.org/officeDocument/2006/relationships" xmlns:p="http://schemas.openxmlformats.org/presentationml/2006/main">
  <p:tag name="POSITION" val="22,8/18,46/2/0,42"/>
  <p:tag name="LOCKED" val="1"/>
  <p:tag name="WIZSHAPE" val="WizShape"/>
  <p:tag name="VISIBLE" val="System.Xml.XmlAttribute"/>
</p:tagLst>
</file>

<file path=ppt/tags/tag15.xml><?xml version="1.0" encoding="utf-8"?>
<p:tagLst xmlns:a="http://schemas.openxmlformats.org/drawingml/2006/main" xmlns:r="http://schemas.openxmlformats.org/officeDocument/2006/relationships" xmlns:p="http://schemas.openxmlformats.org/presentationml/2006/main">
  <p:tag name="POSITION" val="7/18,66/15,7/0,27"/>
  <p:tag name="LOCKED" val="1"/>
  <p:tag name="WIZSHAPE" val="WizShape"/>
  <p:tag name="VISIBLE" val="System.Xml.XmlAttribute"/>
</p:tagLst>
</file>

<file path=ppt/tags/tag16.xml><?xml version="1.0" encoding="utf-8"?>
<p:tagLst xmlns:a="http://schemas.openxmlformats.org/drawingml/2006/main" xmlns:r="http://schemas.openxmlformats.org/officeDocument/2006/relationships" xmlns:p="http://schemas.openxmlformats.org/presentationml/2006/main">
  <p:tag name="POSITION" val="5/18,46/2/0,42"/>
  <p:tag name="LOCKED" val="1"/>
  <p:tag name="WIZSHAPE" val="WizShape"/>
  <p:tag name="VISIBLE" val="System.Xml.XmlAttribute"/>
</p:tagLst>
</file>

<file path=ppt/tags/tag17.xml><?xml version="1.0" encoding="utf-8"?>
<p:tagLst xmlns:a="http://schemas.openxmlformats.org/drawingml/2006/main" xmlns:r="http://schemas.openxmlformats.org/officeDocument/2006/relationships" xmlns:p="http://schemas.openxmlformats.org/presentationml/2006/main">
  <p:tag name="POSITION" val="7/18,79/15,7/0,27"/>
  <p:tag name="LOCKED" val="1"/>
  <p:tag name="WIZSHAPE" val="WizShape"/>
  <p:tag name="VISIBLE" val="System.Xml.XmlAttribute"/>
</p:tagLst>
</file>

<file path=ppt/tags/tag18.xml><?xml version="1.0" encoding="utf-8"?>
<p:tagLst xmlns:a="http://schemas.openxmlformats.org/drawingml/2006/main" xmlns:r="http://schemas.openxmlformats.org/officeDocument/2006/relationships" xmlns:p="http://schemas.openxmlformats.org/presentationml/2006/main">
  <p:tag name="WIZPLACEHOLDER" val="1"/>
</p:tagLst>
</file>

<file path=ppt/tags/tag19.xml><?xml version="1.0" encoding="utf-8"?>
<p:tagLst xmlns:a="http://schemas.openxmlformats.org/drawingml/2006/main" xmlns:r="http://schemas.openxmlformats.org/officeDocument/2006/relationships" xmlns:p="http://schemas.openxmlformats.org/presentationml/2006/main">
  <p:tag name="WIZPLACEHOLDER" val="1"/>
</p:tagLst>
</file>

<file path=ppt/tags/tag2.xml><?xml version="1.0" encoding="utf-8"?>
<p:tagLst xmlns:a="http://schemas.openxmlformats.org/drawingml/2006/main" xmlns:r="http://schemas.openxmlformats.org/officeDocument/2006/relationships" xmlns:p="http://schemas.openxmlformats.org/presentationml/2006/main">
  <p:tag name="POSITION" val="0,6/0/4,8/19,05"/>
  <p:tag name="LOCKED" val="1"/>
</p:tagLst>
</file>

<file path=ppt/tags/tag20.xml><?xml version="1.0" encoding="utf-8"?>
<p:tagLst xmlns:a="http://schemas.openxmlformats.org/drawingml/2006/main" xmlns:r="http://schemas.openxmlformats.org/officeDocument/2006/relationships" xmlns:p="http://schemas.openxmlformats.org/presentationml/2006/main">
  <p:tag name="WIZPLACEHOLDER" val="1"/>
</p:tagLst>
</file>

<file path=ppt/tags/tag21.xml><?xml version="1.0" encoding="utf-8"?>
<p:tagLst xmlns:a="http://schemas.openxmlformats.org/drawingml/2006/main" xmlns:r="http://schemas.openxmlformats.org/officeDocument/2006/relationships" xmlns:p="http://schemas.openxmlformats.org/presentationml/2006/main">
  <p:tag name="WIZPLACEHOLDER" val="1"/>
</p:tagLst>
</file>

<file path=ppt/tags/tag22.xml><?xml version="1.0" encoding="utf-8"?>
<p:tagLst xmlns:a="http://schemas.openxmlformats.org/drawingml/2006/main" xmlns:r="http://schemas.openxmlformats.org/officeDocument/2006/relationships" xmlns:p="http://schemas.openxmlformats.org/presentationml/2006/main">
  <p:tag name="WIZPLACEHOLDER" val="1"/>
</p:tagLst>
</file>

<file path=ppt/tags/tag23.xml><?xml version="1.0" encoding="utf-8"?>
<p:tagLst xmlns:a="http://schemas.openxmlformats.org/drawingml/2006/main" xmlns:r="http://schemas.openxmlformats.org/officeDocument/2006/relationships" xmlns:p="http://schemas.openxmlformats.org/presentationml/2006/main">
  <p:tag name="WIZPLACEHOLDER" val="1"/>
</p:tagLst>
</file>

<file path=ppt/tags/tag24.xml><?xml version="1.0" encoding="utf-8"?>
<p:tagLst xmlns:a="http://schemas.openxmlformats.org/drawingml/2006/main" xmlns:r="http://schemas.openxmlformats.org/officeDocument/2006/relationships" xmlns:p="http://schemas.openxmlformats.org/presentationml/2006/main">
  <p:tag name="WIZPLACEHOLDER" val="1"/>
</p:tagLst>
</file>

<file path=ppt/tags/tag25.xml><?xml version="1.0" encoding="utf-8"?>
<p:tagLst xmlns:a="http://schemas.openxmlformats.org/drawingml/2006/main" xmlns:r="http://schemas.openxmlformats.org/officeDocument/2006/relationships" xmlns:p="http://schemas.openxmlformats.org/presentationml/2006/main">
  <p:tag name="WIZPLACEHOLDER" val="1"/>
</p:tagLst>
</file>

<file path=ppt/tags/tag26.xml><?xml version="1.0" encoding="utf-8"?>
<p:tagLst xmlns:a="http://schemas.openxmlformats.org/drawingml/2006/main" xmlns:r="http://schemas.openxmlformats.org/officeDocument/2006/relationships" xmlns:p="http://schemas.openxmlformats.org/presentationml/2006/main">
  <p:tag name="WIZPLACEHOLDER" val="1"/>
</p:tagLst>
</file>

<file path=ppt/tags/tag27.xml><?xml version="1.0" encoding="utf-8"?>
<p:tagLst xmlns:a="http://schemas.openxmlformats.org/drawingml/2006/main" xmlns:r="http://schemas.openxmlformats.org/officeDocument/2006/relationships" xmlns:p="http://schemas.openxmlformats.org/presentationml/2006/main">
  <p:tag name="WIZPLACEHOLDER" val="1"/>
</p:tagLst>
</file>

<file path=ppt/tags/tag28.xml><?xml version="1.0" encoding="utf-8"?>
<p:tagLst xmlns:a="http://schemas.openxmlformats.org/drawingml/2006/main" xmlns:r="http://schemas.openxmlformats.org/officeDocument/2006/relationships" xmlns:p="http://schemas.openxmlformats.org/presentationml/2006/main">
  <p:tag name="WIZPLACEHOLDER" val="1"/>
</p:tagLst>
</file>

<file path=ppt/tags/tag29.xml><?xml version="1.0" encoding="utf-8"?>
<p:tagLst xmlns:a="http://schemas.openxmlformats.org/drawingml/2006/main" xmlns:r="http://schemas.openxmlformats.org/officeDocument/2006/relationships" xmlns:p="http://schemas.openxmlformats.org/presentationml/2006/main">
  <p:tag name="WIZPLACEHOLDER" val="1"/>
</p:tagLst>
</file>

<file path=ppt/tags/tag3.xml><?xml version="1.0" encoding="utf-8"?>
<p:tagLst xmlns:a="http://schemas.openxmlformats.org/drawingml/2006/main" xmlns:r="http://schemas.openxmlformats.org/officeDocument/2006/relationships" xmlns:p="http://schemas.openxmlformats.org/presentationml/2006/main">
  <p:tag name="POSITION" val="22,8/18,46/2/0,42"/>
  <p:tag name="LOCKED" val="1"/>
  <p:tag name="WIZSHAPE" val="WizShape"/>
  <p:tag name="VISIBLE" val="System.Xml.XmlAttribu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POSITION" val="0,6/0/4,8/19,05"/>
  <p:tag name="LOCKED" val="1"/>
</p:tagLst>
</file>

<file path=ppt/tags/tag33.xml><?xml version="1.0" encoding="utf-8"?>
<p:tagLst xmlns:a="http://schemas.openxmlformats.org/drawingml/2006/main" xmlns:r="http://schemas.openxmlformats.org/officeDocument/2006/relationships" xmlns:p="http://schemas.openxmlformats.org/presentationml/2006/main">
  <p:tag name="POSITION" val="22,8/18,46/2/0,42"/>
  <p:tag name="LOCKED" val="1"/>
  <p:tag name="WIZSHAPE" val="WizShape"/>
  <p:tag name="VISIBLE" val="System.Xml.XmlAttribute"/>
</p:tagLst>
</file>

<file path=ppt/tags/tag34.xml><?xml version="1.0" encoding="utf-8"?>
<p:tagLst xmlns:a="http://schemas.openxmlformats.org/drawingml/2006/main" xmlns:r="http://schemas.openxmlformats.org/officeDocument/2006/relationships" xmlns:p="http://schemas.openxmlformats.org/presentationml/2006/main">
  <p:tag name="POSITION" val="8/18,66/15/0,27"/>
  <p:tag name="LOCKED" val="1"/>
  <p:tag name="WIZSHAPE" val="WizShape"/>
  <p:tag name="VISIBLE" val="System.Xml.XmlAttribute"/>
</p:tagLst>
</file>

<file path=ppt/tags/tag35.xml><?xml version="1.0" encoding="utf-8"?>
<p:tagLst xmlns:a="http://schemas.openxmlformats.org/drawingml/2006/main" xmlns:r="http://schemas.openxmlformats.org/officeDocument/2006/relationships" xmlns:p="http://schemas.openxmlformats.org/presentationml/2006/main">
  <p:tag name="POSITION" val="6/18,46/2/0,42"/>
  <p:tag name="LOCKED" val="1"/>
  <p:tag name="WIZSHAPE" val="WizShape"/>
  <p:tag name="VISIBLE" val="System.Xml.XmlAttribute"/>
</p:tagLst>
</file>

<file path=ppt/tags/tag36.xml><?xml version="1.0" encoding="utf-8"?>
<p:tagLst xmlns:a="http://schemas.openxmlformats.org/drawingml/2006/main" xmlns:r="http://schemas.openxmlformats.org/officeDocument/2006/relationships" xmlns:p="http://schemas.openxmlformats.org/presentationml/2006/main">
  <p:tag name="POSITION" val="8/18,79/15/0,27"/>
  <p:tag name="LOCKED" val="1"/>
  <p:tag name="WIZSHAPE" val="WizShape"/>
  <p:tag name="VISIBLE" val="System.Xml.XmlAttribute"/>
</p:tagLst>
</file>

<file path=ppt/tags/tag37.xml><?xml version="1.0" encoding="utf-8"?>
<p:tagLst xmlns:a="http://schemas.openxmlformats.org/drawingml/2006/main" xmlns:r="http://schemas.openxmlformats.org/officeDocument/2006/relationships" xmlns:p="http://schemas.openxmlformats.org/presentationml/2006/main">
  <p:tag name="ANNIVERSARY" val="1"/>
  <p:tag name="LOCKED"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POSITION" val="22,8/18,46/2/0,42"/>
  <p:tag name="LOCKED" val="1"/>
  <p:tag name="WIZSHAPE" val="WizShape"/>
  <p:tag name="VISIBLE" val="System.Xml.XmlAttribute"/>
</p:tagLst>
</file>

<file path=ppt/tags/tag4.xml><?xml version="1.0" encoding="utf-8"?>
<p:tagLst xmlns:a="http://schemas.openxmlformats.org/drawingml/2006/main" xmlns:r="http://schemas.openxmlformats.org/officeDocument/2006/relationships" xmlns:p="http://schemas.openxmlformats.org/presentationml/2006/main">
  <p:tag name="POSITION" val="8/18,66/15/0,27"/>
  <p:tag name="LOCKED" val="1"/>
  <p:tag name="WIZSHAPE" val="WizShape"/>
  <p:tag name="VISIBLE" val="System.Xml.XmlAttribute"/>
</p:tagLst>
</file>

<file path=ppt/tags/tag40.xml><?xml version="1.0" encoding="utf-8"?>
<p:tagLst xmlns:a="http://schemas.openxmlformats.org/drawingml/2006/main" xmlns:r="http://schemas.openxmlformats.org/officeDocument/2006/relationships" xmlns:p="http://schemas.openxmlformats.org/presentationml/2006/main">
  <p:tag name="POSITION" val="8/18,66/15/0,27"/>
  <p:tag name="LOCKED" val="1"/>
  <p:tag name="WIZSHAPE" val="WizShape"/>
  <p:tag name="VISIBLE" val="System.Xml.XmlAttribute"/>
</p:tagLst>
</file>

<file path=ppt/tags/tag41.xml><?xml version="1.0" encoding="utf-8"?>
<p:tagLst xmlns:a="http://schemas.openxmlformats.org/drawingml/2006/main" xmlns:r="http://schemas.openxmlformats.org/officeDocument/2006/relationships" xmlns:p="http://schemas.openxmlformats.org/presentationml/2006/main">
  <p:tag name="POSITION" val="6/18,46/2/0,42"/>
  <p:tag name="LOCKED" val="1"/>
  <p:tag name="WIZSHAPE" val="WizShape"/>
  <p:tag name="VISIBLE" val="System.Xml.XmlAttribu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WIZPLACEHOLDER" val="1"/>
</p:tagLst>
</file>

<file path=ppt/tags/tag44.xml><?xml version="1.0" encoding="utf-8"?>
<p:tagLst xmlns:a="http://schemas.openxmlformats.org/drawingml/2006/main" xmlns:r="http://schemas.openxmlformats.org/officeDocument/2006/relationships" xmlns:p="http://schemas.openxmlformats.org/presentationml/2006/main">
  <p:tag name="WIZPLACEHOLDER" val="1"/>
</p:tagLst>
</file>

<file path=ppt/tags/tag45.xml><?xml version="1.0" encoding="utf-8"?>
<p:tagLst xmlns:a="http://schemas.openxmlformats.org/drawingml/2006/main" xmlns:r="http://schemas.openxmlformats.org/officeDocument/2006/relationships" xmlns:p="http://schemas.openxmlformats.org/presentationml/2006/main">
  <p:tag name="WIZPLACEHOLDER" val="1"/>
</p:tagLst>
</file>

<file path=ppt/tags/tag46.xml><?xml version="1.0" encoding="utf-8"?>
<p:tagLst xmlns:a="http://schemas.openxmlformats.org/drawingml/2006/main" xmlns:r="http://schemas.openxmlformats.org/officeDocument/2006/relationships" xmlns:p="http://schemas.openxmlformats.org/presentationml/2006/main">
  <p:tag name="WIZPLACEHOLDER"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POSITION" val="0/0,6/25,39/3,8"/>
  <p:tag name="LOCKED" val="1"/>
</p:tagLst>
</file>

<file path=ppt/tags/tag5.xml><?xml version="1.0" encoding="utf-8"?>
<p:tagLst xmlns:a="http://schemas.openxmlformats.org/drawingml/2006/main" xmlns:r="http://schemas.openxmlformats.org/officeDocument/2006/relationships" xmlns:p="http://schemas.openxmlformats.org/presentationml/2006/main">
  <p:tag name="POSITION" val="6/18,46/2/0,42"/>
  <p:tag name="LOCKED" val="1"/>
  <p:tag name="WIZSHAPE" val="WizShape"/>
  <p:tag name="VISIBLE" val="System.Xml.XmlAttribute"/>
</p:tagLst>
</file>

<file path=ppt/tags/tag50.xml><?xml version="1.0" encoding="utf-8"?>
<p:tagLst xmlns:a="http://schemas.openxmlformats.org/drawingml/2006/main" xmlns:r="http://schemas.openxmlformats.org/officeDocument/2006/relationships" xmlns:p="http://schemas.openxmlformats.org/presentationml/2006/main">
  <p:tag name="POSITION" val="0,6/1,78/19,8/2,37"/>
  <p:tag name="LOCKED" val="1"/>
  <p:tag name="WIZSHAPE" val="WizShape"/>
  <p:tag name="VISIBLE" val="System.Xml.XmlAttribute"/>
</p:tagLst>
</file>

<file path=ppt/tags/tag51.xml><?xml version="1.0" encoding="utf-8"?>
<p:tagLst xmlns:a="http://schemas.openxmlformats.org/drawingml/2006/main" xmlns:r="http://schemas.openxmlformats.org/officeDocument/2006/relationships" xmlns:p="http://schemas.openxmlformats.org/presentationml/2006/main">
  <p:tag name="POSITION" val="0,6/5,2/24,2/12,8"/>
  <p:tag name="LOCKED" val="1"/>
  <p:tag name="WIZSHAPE" val="WizShape"/>
  <p:tag name="VISIBLE" val="System.Xml.XmlAttribute"/>
</p:tagLst>
</file>

<file path=ppt/tags/tag52.xml><?xml version="1.0" encoding="utf-8"?>
<p:tagLst xmlns:a="http://schemas.openxmlformats.org/drawingml/2006/main" xmlns:r="http://schemas.openxmlformats.org/officeDocument/2006/relationships" xmlns:p="http://schemas.openxmlformats.org/presentationml/2006/main">
  <p:tag name="POSITION" val="22,8/18,46/2/0,42"/>
  <p:tag name="LOCKED" val="1"/>
  <p:tag name="WIZSHAPE" val="WizShape"/>
  <p:tag name="VISIBLE" val="System.Xml.XmlAttribute"/>
</p:tagLst>
</file>

<file path=ppt/tags/tag53.xml><?xml version="1.0" encoding="utf-8"?>
<p:tagLst xmlns:a="http://schemas.openxmlformats.org/drawingml/2006/main" xmlns:r="http://schemas.openxmlformats.org/officeDocument/2006/relationships" xmlns:p="http://schemas.openxmlformats.org/presentationml/2006/main">
  <p:tag name="POSITION" val="2,6/18,66/20,2/0,27"/>
  <p:tag name="LOCKED" val="1"/>
  <p:tag name="WIZSHAPE" val="WizShape"/>
  <p:tag name="VISIBLE" val="System.Xml.XmlAttribute"/>
</p:tagLst>
</file>

<file path=ppt/tags/tag54.xml><?xml version="1.0" encoding="utf-8"?>
<p:tagLst xmlns:a="http://schemas.openxmlformats.org/drawingml/2006/main" xmlns:r="http://schemas.openxmlformats.org/officeDocument/2006/relationships" xmlns:p="http://schemas.openxmlformats.org/presentationml/2006/main">
  <p:tag name="POSITION" val="0,6/18,46/2/0,42"/>
  <p:tag name="LOCKED" val="1"/>
  <p:tag name="WIZSHAPE" val="WizShape"/>
  <p:tag name="VISIBLE" val="System.Xml.XmlAttribute"/>
</p:tagLst>
</file>

<file path=ppt/tags/tag55.xml><?xml version="1.0" encoding="utf-8"?>
<p:tagLst xmlns:a="http://schemas.openxmlformats.org/drawingml/2006/main" xmlns:r="http://schemas.openxmlformats.org/officeDocument/2006/relationships" xmlns:p="http://schemas.openxmlformats.org/presentationml/2006/main">
  <p:tag name="POSITION" val="2,6/18,79/20,2/0,27"/>
  <p:tag name="LOCKED" val="1"/>
  <p:tag name="WIZSHAPE" val="WizShape"/>
  <p:tag name="VISIBLE" val="System.Xml.XmlAttribu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WIZPLACEHOLDER" val="1"/>
</p:tagLst>
</file>

<file path=ppt/tags/tag58.xml><?xml version="1.0" encoding="utf-8"?>
<p:tagLst xmlns:a="http://schemas.openxmlformats.org/drawingml/2006/main" xmlns:r="http://schemas.openxmlformats.org/officeDocument/2006/relationships" xmlns:p="http://schemas.openxmlformats.org/presentationml/2006/main">
  <p:tag name="WIZPLACEHOLDER" val="1"/>
</p:tagLst>
</file>

<file path=ppt/tags/tag59.xml><?xml version="1.0" encoding="utf-8"?>
<p:tagLst xmlns:a="http://schemas.openxmlformats.org/drawingml/2006/main" xmlns:r="http://schemas.openxmlformats.org/officeDocument/2006/relationships" xmlns:p="http://schemas.openxmlformats.org/presentationml/2006/main">
  <p:tag name="WIZPLACEHOLDER" val="1"/>
</p:tagLst>
</file>

<file path=ppt/tags/tag6.xml><?xml version="1.0" encoding="utf-8"?>
<p:tagLst xmlns:a="http://schemas.openxmlformats.org/drawingml/2006/main" xmlns:r="http://schemas.openxmlformats.org/officeDocument/2006/relationships" xmlns:p="http://schemas.openxmlformats.org/presentationml/2006/main">
  <p:tag name="POSITION" val="8/18,79/15/0,27"/>
  <p:tag name="LOCKED" val="1"/>
  <p:tag name="WIZSHAPE" val="WizShape"/>
  <p:tag name="VISIBLE" val="System.Xml.XmlAttribute"/>
</p:tagLst>
</file>

<file path=ppt/tags/tag60.xml><?xml version="1.0" encoding="utf-8"?>
<p:tagLst xmlns:a="http://schemas.openxmlformats.org/drawingml/2006/main" xmlns:r="http://schemas.openxmlformats.org/officeDocument/2006/relationships" xmlns:p="http://schemas.openxmlformats.org/presentationml/2006/main">
  <p:tag name="WIZPLACEHOLDER"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POSITION" val="0/0,6/25,39/3,8"/>
  <p:tag name="LOCKED" val="1"/>
</p:tagLst>
</file>

<file path=ppt/tags/tag63.xml><?xml version="1.0" encoding="utf-8"?>
<p:tagLst xmlns:a="http://schemas.openxmlformats.org/drawingml/2006/main" xmlns:r="http://schemas.openxmlformats.org/officeDocument/2006/relationships" xmlns:p="http://schemas.openxmlformats.org/presentationml/2006/main">
  <p:tag name="POSITION" val="20,99/0,6/3,8/3,8"/>
  <p:tag name="LOCKED"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POSITION" val="0/0,6/25,39/3,8"/>
  <p:tag name="LOCKED" val="1"/>
</p:tagLst>
</file>

<file path=ppt/tags/tag66.xml><?xml version="1.0" encoding="utf-8"?>
<p:tagLst xmlns:a="http://schemas.openxmlformats.org/drawingml/2006/main" xmlns:r="http://schemas.openxmlformats.org/officeDocument/2006/relationships" xmlns:p="http://schemas.openxmlformats.org/presentationml/2006/main">
  <p:tag name="POSITION" val="20,99/0,6/3,8/3,8"/>
  <p:tag name="LOCKED" val="1"/>
</p:tagLst>
</file>

<file path=ppt/tags/tag67.xml><?xml version="1.0" encoding="utf-8"?>
<p:tagLst xmlns:a="http://schemas.openxmlformats.org/drawingml/2006/main" xmlns:r="http://schemas.openxmlformats.org/officeDocument/2006/relationships" xmlns:p="http://schemas.openxmlformats.org/presentationml/2006/main">
  <p:tag name="POSITION" val="0,6/0/4,8/19,05"/>
  <p:tag name="LOCKED" val="1"/>
</p:tagLst>
</file>

<file path=ppt/tags/tag68.xml><?xml version="1.0" encoding="utf-8"?>
<p:tagLst xmlns:a="http://schemas.openxmlformats.org/drawingml/2006/main" xmlns:r="http://schemas.openxmlformats.org/officeDocument/2006/relationships" xmlns:p="http://schemas.openxmlformats.org/presentationml/2006/main">
  <p:tag name="POSITION" val="22,8/18,46/2/0,42"/>
  <p:tag name="LOCKED" val="1"/>
  <p:tag name="WIZSHAPE" val="WizShape"/>
  <p:tag name="VISIBLE" val="System.Xml.XmlAttribute"/>
</p:tagLst>
</file>

<file path=ppt/tags/tag69.xml><?xml version="1.0" encoding="utf-8"?>
<p:tagLst xmlns:a="http://schemas.openxmlformats.org/drawingml/2006/main" xmlns:r="http://schemas.openxmlformats.org/officeDocument/2006/relationships" xmlns:p="http://schemas.openxmlformats.org/presentationml/2006/main">
  <p:tag name="POSITION" val="8/18,66/15/0,27"/>
  <p:tag name="LOCKED" val="1"/>
  <p:tag name="WIZSHAPE" val="WizShape"/>
  <p:tag name="VISIBLE" val="System.Xml.XmlAttribu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OSITION" val="6/18,46/2/0,42"/>
  <p:tag name="LOCKED" val="1"/>
  <p:tag name="WIZSHAPE" val="WizShape"/>
  <p:tag name="VISIBLE" val="System.Xml.XmlAttribute"/>
</p:tagLst>
</file>

<file path=ppt/tags/tag71.xml><?xml version="1.0" encoding="utf-8"?>
<p:tagLst xmlns:a="http://schemas.openxmlformats.org/drawingml/2006/main" xmlns:r="http://schemas.openxmlformats.org/officeDocument/2006/relationships" xmlns:p="http://schemas.openxmlformats.org/presentationml/2006/main">
  <p:tag name="POSITION" val="8/18,79/15/0,27"/>
  <p:tag name="LOCKED" val="1"/>
  <p:tag name="WIZSHAPE" val="WizShape"/>
  <p:tag name="VISIBLE" val="System.Xml.XmlAttribute"/>
</p:tagLst>
</file>

<file path=ppt/tags/tag72.xml><?xml version="1.0" encoding="utf-8"?>
<p:tagLst xmlns:a="http://schemas.openxmlformats.org/drawingml/2006/main" xmlns:r="http://schemas.openxmlformats.org/officeDocument/2006/relationships" xmlns:p="http://schemas.openxmlformats.org/presentationml/2006/main">
  <p:tag name="POSITION" val="0,6/0/3,8/19,05"/>
  <p:tag name="LOCKED" val="1"/>
</p:tagLst>
</file>

<file path=ppt/tags/tag73.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74.xml><?xml version="1.0" encoding="utf-8"?>
<p:tagLst xmlns:a="http://schemas.openxmlformats.org/drawingml/2006/main" xmlns:r="http://schemas.openxmlformats.org/officeDocument/2006/relationships" xmlns:p="http://schemas.openxmlformats.org/presentationml/2006/main">
  <p:tag name="POSITION" val="5/5/19,8/13"/>
  <p:tag name="LOCKED" val="1"/>
  <p:tag name="WIZSHAPE" val="WizShape"/>
  <p:tag name="VISIBLE" val="System.Xml.XmlAttribute"/>
</p:tagLst>
</file>

<file path=ppt/tags/tag75.xml><?xml version="1.0" encoding="utf-8"?>
<p:tagLst xmlns:a="http://schemas.openxmlformats.org/drawingml/2006/main" xmlns:r="http://schemas.openxmlformats.org/officeDocument/2006/relationships" xmlns:p="http://schemas.openxmlformats.org/presentationml/2006/main">
  <p:tag name="POSITION" val="22,8/18,46/2/0,42"/>
  <p:tag name="LOCKED" val="1"/>
  <p:tag name="WIZSHAPE" val="WizShape"/>
  <p:tag name="VISIBLE" val="System.Xml.XmlAttribute"/>
</p:tagLst>
</file>

<file path=ppt/tags/tag76.xml><?xml version="1.0" encoding="utf-8"?>
<p:tagLst xmlns:a="http://schemas.openxmlformats.org/drawingml/2006/main" xmlns:r="http://schemas.openxmlformats.org/officeDocument/2006/relationships" xmlns:p="http://schemas.openxmlformats.org/presentationml/2006/main">
  <p:tag name="POSITION" val="7/18,66/15,7/0,27"/>
  <p:tag name="LOCKED" val="1"/>
  <p:tag name="WIZSHAPE" val="WizShape"/>
  <p:tag name="VISIBLE" val="System.Xml.XmlAttribute"/>
</p:tagLst>
</file>

<file path=ppt/tags/tag77.xml><?xml version="1.0" encoding="utf-8"?>
<p:tagLst xmlns:a="http://schemas.openxmlformats.org/drawingml/2006/main" xmlns:r="http://schemas.openxmlformats.org/officeDocument/2006/relationships" xmlns:p="http://schemas.openxmlformats.org/presentationml/2006/main">
  <p:tag name="POSITION" val="5/18,46/2/0,42"/>
  <p:tag name="LOCKED" val="1"/>
  <p:tag name="WIZSHAPE" val="WizShape"/>
  <p:tag name="VISIBLE" val="System.Xml.XmlAttribute"/>
</p:tagLst>
</file>

<file path=ppt/tags/tag78.xml><?xml version="1.0" encoding="utf-8"?>
<p:tagLst xmlns:a="http://schemas.openxmlformats.org/drawingml/2006/main" xmlns:r="http://schemas.openxmlformats.org/officeDocument/2006/relationships" xmlns:p="http://schemas.openxmlformats.org/presentationml/2006/main">
  <p:tag name="POSITION" val="7/18,79/15,7/0,27"/>
  <p:tag name="LOCKED" val="1"/>
  <p:tag name="WIZSHAPE" val="WizShape"/>
  <p:tag name="VISIBLE" val="System.Xml.XmlAttribute"/>
</p:tagLst>
</file>

<file path=ppt/tags/tag79.xml><?xml version="1.0" encoding="utf-8"?>
<p:tagLst xmlns:a="http://schemas.openxmlformats.org/drawingml/2006/main" xmlns:r="http://schemas.openxmlformats.org/officeDocument/2006/relationships" xmlns:p="http://schemas.openxmlformats.org/presentationml/2006/main">
  <p:tag name="WIZPLACEHOLDER" val="1"/>
</p:tagLst>
</file>

<file path=ppt/tags/tag8.xml><?xml version="1.0" encoding="utf-8"?>
<p:tagLst xmlns:a="http://schemas.openxmlformats.org/drawingml/2006/main" xmlns:r="http://schemas.openxmlformats.org/officeDocument/2006/relationships" xmlns:p="http://schemas.openxmlformats.org/presentationml/2006/main">
  <p:tag name="WIZPLACEHOLDER" val="1"/>
</p:tagLst>
</file>

<file path=ppt/tags/tag80.xml><?xml version="1.0" encoding="utf-8"?>
<p:tagLst xmlns:a="http://schemas.openxmlformats.org/drawingml/2006/main" xmlns:r="http://schemas.openxmlformats.org/officeDocument/2006/relationships" xmlns:p="http://schemas.openxmlformats.org/presentationml/2006/main">
  <p:tag name="WIZPLACEHOLDER" val="1"/>
</p:tagLst>
</file>

<file path=ppt/tags/tag81.xml><?xml version="1.0" encoding="utf-8"?>
<p:tagLst xmlns:a="http://schemas.openxmlformats.org/drawingml/2006/main" xmlns:r="http://schemas.openxmlformats.org/officeDocument/2006/relationships" xmlns:p="http://schemas.openxmlformats.org/presentationml/2006/main">
  <p:tag name="WIZPLACEHOLDER" val="1"/>
</p:tagLst>
</file>

<file path=ppt/tags/tag82.xml><?xml version="1.0" encoding="utf-8"?>
<p:tagLst xmlns:a="http://schemas.openxmlformats.org/drawingml/2006/main" xmlns:r="http://schemas.openxmlformats.org/officeDocument/2006/relationships" xmlns:p="http://schemas.openxmlformats.org/presentationml/2006/main">
  <p:tag name="WIZPLACEHOLDER" val="1"/>
</p:tagLst>
</file>

<file path=ppt/tags/tag83.xml><?xml version="1.0" encoding="utf-8"?>
<p:tagLst xmlns:a="http://schemas.openxmlformats.org/drawingml/2006/main" xmlns:r="http://schemas.openxmlformats.org/officeDocument/2006/relationships" xmlns:p="http://schemas.openxmlformats.org/presentationml/2006/main">
  <p:tag name="WIZPLACEHOLDER" val="1"/>
</p:tagLst>
</file>

<file path=ppt/tags/tag84.xml><?xml version="1.0" encoding="utf-8"?>
<p:tagLst xmlns:a="http://schemas.openxmlformats.org/drawingml/2006/main" xmlns:r="http://schemas.openxmlformats.org/officeDocument/2006/relationships" xmlns:p="http://schemas.openxmlformats.org/presentationml/2006/main">
  <p:tag name="WIZPLACEHOLDER" val="1"/>
</p:tagLst>
</file>

<file path=ppt/tags/tag85.xml><?xml version="1.0" encoding="utf-8"?>
<p:tagLst xmlns:a="http://schemas.openxmlformats.org/drawingml/2006/main" xmlns:r="http://schemas.openxmlformats.org/officeDocument/2006/relationships" xmlns:p="http://schemas.openxmlformats.org/presentationml/2006/main">
  <p:tag name="WIZPLACEHOLDER" val="1"/>
</p:tagLst>
</file>

<file path=ppt/tags/tag86.xml><?xml version="1.0" encoding="utf-8"?>
<p:tagLst xmlns:a="http://schemas.openxmlformats.org/drawingml/2006/main" xmlns:r="http://schemas.openxmlformats.org/officeDocument/2006/relationships" xmlns:p="http://schemas.openxmlformats.org/presentationml/2006/main">
  <p:tag name="WIZPLACEHOLDER" val="1"/>
</p:tagLst>
</file>

<file path=ppt/tags/tag87.xml><?xml version="1.0" encoding="utf-8"?>
<p:tagLst xmlns:a="http://schemas.openxmlformats.org/drawingml/2006/main" xmlns:r="http://schemas.openxmlformats.org/officeDocument/2006/relationships" xmlns:p="http://schemas.openxmlformats.org/presentationml/2006/main">
  <p:tag name="WIZPLACEHOLDER" val="1"/>
</p:tagLst>
</file>

<file path=ppt/tags/tag88.xml><?xml version="1.0" encoding="utf-8"?>
<p:tagLst xmlns:a="http://schemas.openxmlformats.org/drawingml/2006/main" xmlns:r="http://schemas.openxmlformats.org/officeDocument/2006/relationships" xmlns:p="http://schemas.openxmlformats.org/presentationml/2006/main">
  <p:tag name="WIZPLACEHOLDER" val="1"/>
</p:tagLst>
</file>

<file path=ppt/tags/tag89.xml><?xml version="1.0" encoding="utf-8"?>
<p:tagLst xmlns:a="http://schemas.openxmlformats.org/drawingml/2006/main" xmlns:r="http://schemas.openxmlformats.org/officeDocument/2006/relationships" xmlns:p="http://schemas.openxmlformats.org/presentationml/2006/main">
  <p:tag name="WIZPLACEHOLDER" val="1"/>
</p:tagLst>
</file>

<file path=ppt/tags/tag9.xml><?xml version="1.0" encoding="utf-8"?>
<p:tagLst xmlns:a="http://schemas.openxmlformats.org/drawingml/2006/main" xmlns:r="http://schemas.openxmlformats.org/officeDocument/2006/relationships" xmlns:p="http://schemas.openxmlformats.org/presentationml/2006/main">
  <p:tag name="WIZPLACEHOLDER" val="1"/>
</p:tagLst>
</file>

<file path=ppt/tags/tag90.xml><?xml version="1.0" encoding="utf-8"?>
<p:tagLst xmlns:a="http://schemas.openxmlformats.org/drawingml/2006/main" xmlns:r="http://schemas.openxmlformats.org/officeDocument/2006/relationships" xmlns:p="http://schemas.openxmlformats.org/presentationml/2006/main">
  <p:tag name="WIZPLACEHOLDER" val="1"/>
</p:tagLst>
</file>

<file path=ppt/tags/tag91.xml><?xml version="1.0" encoding="utf-8"?>
<p:tagLst xmlns:a="http://schemas.openxmlformats.org/drawingml/2006/main" xmlns:r="http://schemas.openxmlformats.org/officeDocument/2006/relationships" xmlns:p="http://schemas.openxmlformats.org/presentationml/2006/main">
  <p:tag name="POSITION" val="0,6/0/4,8/19,05"/>
  <p:tag name="LOCKED" val="1"/>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F_TitelDesign">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BASF_FolienDesign">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Larissa">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ASF_TitelDesign">
  <a:themeElements>
    <a:clrScheme name="01 BASF darkblue_colorsheme">
      <a:dk1>
        <a:srgbClr val="000000"/>
      </a:dk1>
      <a:lt1>
        <a:srgbClr val="FFFFFF"/>
      </a:lt1>
      <a:dk2>
        <a:srgbClr val="002875"/>
      </a:dk2>
      <a:lt2>
        <a:srgbClr val="FFFFFF"/>
      </a:lt2>
      <a:accent1>
        <a:srgbClr val="004A96"/>
      </a:accent1>
      <a:accent2>
        <a:srgbClr val="4472AA"/>
      </a:accent2>
      <a:accent3>
        <a:srgbClr val="7CA0C6"/>
      </a:accent3>
      <a:accent4>
        <a:srgbClr val="A6C0DA"/>
      </a:accent4>
      <a:accent5>
        <a:srgbClr val="E0E9F2"/>
      </a:accent5>
      <a:accent6>
        <a:srgbClr val="808080"/>
      </a:accent6>
      <a:hlink>
        <a:srgbClr val="F39500"/>
      </a:hlink>
      <a:folHlink>
        <a:srgbClr val="FACF8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BASF_FolienDesign">
  <a:themeElements>
    <a:clrScheme name="CORES BASF">
      <a:dk1>
        <a:sysClr val="windowText" lastClr="000000"/>
      </a:dk1>
      <a:lt1>
        <a:sysClr val="window" lastClr="FFFFFF"/>
      </a:lt1>
      <a:dk2>
        <a:srgbClr val="000000"/>
      </a:dk2>
      <a:lt2>
        <a:srgbClr val="004896"/>
      </a:lt2>
      <a:accent1>
        <a:srgbClr val="21A0D2"/>
      </a:accent1>
      <a:accent2>
        <a:srgbClr val="F39500"/>
      </a:accent2>
      <a:accent3>
        <a:srgbClr val="C50022"/>
      </a:accent3>
      <a:accent4>
        <a:srgbClr val="65AC1E"/>
      </a:accent4>
      <a:accent5>
        <a:srgbClr val="00793A"/>
      </a:accent5>
      <a:accent6>
        <a:srgbClr val="FACE8F"/>
      </a:accent6>
      <a:hlink>
        <a:srgbClr val="E899A7"/>
      </a:hlink>
      <a:folHlink>
        <a:srgbClr val="A2AAD5"/>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w="38100" cap="sq">
          <a:solidFill>
            <a:srgbClr val="FFC000"/>
          </a:solidFill>
          <a:miter lim="800000"/>
        </a:ln>
      </a:spPr>
      <a:bodyPr rtlCol="0" anchor="ctr"/>
      <a:lstStyle>
        <a:defPPr algn="ctr">
          <a:defRPr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anchor="b" anchorCtr="0" compatLnSpc="1">
        <a:prstTxWarp prst="textNoShape">
          <a:avLst/>
        </a:prstTxWarp>
      </a:bodyPr>
      <a:lstStyle>
        <a:defPPr>
          <a:defRPr dirty="0" smtClean="0">
            <a:solidFill>
              <a:schemeClr val="accent1"/>
            </a:solidFill>
            <a:latin typeface="Arial" pitchFamily="34" charset="0"/>
          </a:defRPr>
        </a:defPPr>
      </a:lstStyle>
    </a:txDef>
  </a:objectDefaults>
  <a:extraClrSchemeLst/>
</a:theme>
</file>

<file path=ppt/theme/theme5.xml><?xml version="1.0" encoding="utf-8"?>
<a:theme xmlns:a="http://schemas.openxmlformats.org/drawingml/2006/main" name="2_BASF_TitelDesign">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2_BASF_FolienDesign">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Larissa">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Larissa">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Override1.xml><?xml version="1.0" encoding="utf-8"?>
<a:themeOverride xmlns:a="http://schemas.openxmlformats.org/drawingml/2006/main">
  <a:fontScheme name="Larissa">
    <a:majorFont>
      <a:latin typeface="Arial"/>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2.xml><?xml version="1.0" encoding="utf-8"?>
<a:themeOverride xmlns:a="http://schemas.openxmlformats.org/drawingml/2006/main">
  <a:clrScheme name="CORES BASF">
    <a:dk1>
      <a:sysClr val="windowText" lastClr="000000"/>
    </a:dk1>
    <a:lt1>
      <a:sysClr val="window" lastClr="FFFFFF"/>
    </a:lt1>
    <a:dk2>
      <a:srgbClr val="000000"/>
    </a:dk2>
    <a:lt2>
      <a:srgbClr val="004896"/>
    </a:lt2>
    <a:accent1>
      <a:srgbClr val="21A0D2"/>
    </a:accent1>
    <a:accent2>
      <a:srgbClr val="F39500"/>
    </a:accent2>
    <a:accent3>
      <a:srgbClr val="C50022"/>
    </a:accent3>
    <a:accent4>
      <a:srgbClr val="65AC1E"/>
    </a:accent4>
    <a:accent5>
      <a:srgbClr val="00793A"/>
    </a:accent5>
    <a:accent6>
      <a:srgbClr val="FACE8F"/>
    </a:accent6>
    <a:hlink>
      <a:srgbClr val="E899A7"/>
    </a:hlink>
    <a:folHlink>
      <a:srgbClr val="A2AAD5"/>
    </a:folHlink>
  </a:clrScheme>
  <a:fontScheme name="Escritório Clássico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7825802CD9C2D4E9353E65B058B1AE5" ma:contentTypeVersion="9" ma:contentTypeDescription="Ein neues Dokument erstellen." ma:contentTypeScope="" ma:versionID="4cc73e60717fef530143fa85ee1611ff">
  <xsd:schema xmlns:xsd="http://www.w3.org/2001/XMLSchema" xmlns:xs="http://www.w3.org/2001/XMLSchema" xmlns:p="http://schemas.microsoft.com/office/2006/metadata/properties" xmlns:ns2="c00d7b54-89ac-4acc-a03f-d3245ab2bbde" xmlns:ns3="651aacc4-8edb-4ea9-9ab7-2c6503b66614" targetNamespace="http://schemas.microsoft.com/office/2006/metadata/properties" ma:root="true" ma:fieldsID="0b6c8ed2018768874ed37b32601cf850" ns2:_="" ns3:_="">
    <xsd:import namespace="c00d7b54-89ac-4acc-a03f-d3245ab2bbde"/>
    <xsd:import namespace="651aacc4-8edb-4ea9-9ab7-2c6503b66614"/>
    <xsd:element name="properties">
      <xsd:complexType>
        <xsd:sequence>
          <xsd:element name="documentManagement">
            <xsd:complexType>
              <xsd:all>
                <xsd:element ref="ns2:cc99f00ef967467f9fb7cd52ad5d02ed" minOccurs="0"/>
                <xsd:element ref="ns2:TaxCatchAll" minOccurs="0"/>
                <xsd:element ref="ns3:prv_Description" minOccurs="0"/>
                <xsd:element ref="ns3:prv_Responsible" minOccurs="0"/>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0d7b54-89ac-4acc-a03f-d3245ab2bbde" elementFormDefault="qualified">
    <xsd:import namespace="http://schemas.microsoft.com/office/2006/documentManagement/types"/>
    <xsd:import namespace="http://schemas.microsoft.com/office/infopath/2007/PartnerControls"/>
    <xsd:element name="cc99f00ef967467f9fb7cd52ad5d02ed" ma:index="9" nillable="true" ma:taxonomy="true" ma:internalName="cc99f00ef967467f9fb7cd52ad5d02ed" ma:taxonomyFieldName="prv_Category" ma:displayName="Category" ma:fieldId="{cc99f00e-f967-467f-9fb7-cd52ad5d02ed}" ma:taxonomyMulti="true" ma:sspId="04f2cd92-8d93-4e4c-83d3-86703d91558f" ma:termSetId="c156b1ac-d64e-4587-b8d6-fca26dbe313c" ma:anchorId="00000000-0000-0000-0000-000000000000" ma:open="false" ma:isKeyword="false">
      <xsd:complexType>
        <xsd:sequence>
          <xsd:element ref="pc:Terms" minOccurs="0" maxOccurs="1"/>
        </xsd:sequence>
      </xsd:complexType>
    </xsd:element>
    <xsd:element name="TaxCatchAll" ma:index="10" nillable="true" ma:displayName="Taxonomy Catch All Column" ma:description="" ma:hidden="true" ma:list="{988bc200-3359-4e2b-8258-29cb7a82ac6a}" ma:internalName="TaxCatchAll" ma:showField="CatchAllData" ma:web="c00d7b54-89ac-4acc-a03f-d3245ab2bbde">
      <xsd:complexType>
        <xsd:complexContent>
          <xsd:extension base="dms:MultiChoiceLookup">
            <xsd:sequence>
              <xsd:element name="Value" type="dms:Lookup" maxOccurs="unbounded" minOccurs="0" nillable="true"/>
            </xsd:sequence>
          </xsd:extension>
        </xsd:complexContent>
      </xsd:complexType>
    </xsd:element>
    <xsd:element name="SharedWithUsers" ma:index="13"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Freigegeben für - Details" ma:description="" ma:internalName="SharedWithDetails" ma:readOnly="true">
      <xsd:simpleType>
        <xsd:restriction base="dms:Note">
          <xsd:maxLength value="255"/>
        </xsd:restriction>
      </xsd:simpleType>
    </xsd:element>
    <xsd:element name="LastSharedByUser" ma:index="15" nillable="true" ma:displayName="Zuletzt freigegeben nach Benutzer" ma:description="" ma:internalName="LastSharedByUser" ma:readOnly="true">
      <xsd:simpleType>
        <xsd:restriction base="dms:Note">
          <xsd:maxLength value="255"/>
        </xsd:restriction>
      </xsd:simpleType>
    </xsd:element>
    <xsd:element name="LastSharedByTime" ma:index="16" nillable="true" ma:displayName="Zuletzt freigegeben nach Zeitpunkt"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51aacc4-8edb-4ea9-9ab7-2c6503b66614" elementFormDefault="qualified">
    <xsd:import namespace="http://schemas.microsoft.com/office/2006/documentManagement/types"/>
    <xsd:import namespace="http://schemas.microsoft.com/office/infopath/2007/PartnerControls"/>
    <xsd:element name="prv_Description" ma:index="11" nillable="true" ma:displayName="Description" ma:internalName="prv_Description" ma:readOnly="false">
      <xsd:simpleType>
        <xsd:restriction base="dms:Note">
          <xsd:maxLength value="255"/>
        </xsd:restriction>
      </xsd:simpleType>
    </xsd:element>
    <xsd:element name="prv_Responsible" ma:index="12" nillable="true" ma:displayName="Responsible" ma:internalName="prv_Responsible" ma:readOnly="fals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rv_Responsible xmlns="651aacc4-8edb-4ea9-9ab7-2c6503b66614">
      <UserInfo>
        <DisplayName/>
        <AccountId xsi:nil="true"/>
        <AccountType/>
      </UserInfo>
    </prv_Responsible>
    <TaxCatchAll xmlns="c00d7b54-89ac-4acc-a03f-d3245ab2bbde"/>
    <cc99f00ef967467f9fb7cd52ad5d02ed xmlns="c00d7b54-89ac-4acc-a03f-d3245ab2bbde">
      <Terms xmlns="http://schemas.microsoft.com/office/infopath/2007/PartnerControls"/>
    </cc99f00ef967467f9fb7cd52ad5d02ed>
    <prv_Description xmlns="651aacc4-8edb-4ea9-9ab7-2c6503b6661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5C24585-2169-4CBA-A5A3-0CDD2183DB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00d7b54-89ac-4acc-a03f-d3245ab2bbde"/>
    <ds:schemaRef ds:uri="651aacc4-8edb-4ea9-9ab7-2c6503b666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D5D0A46-AB25-4EFA-ACC5-516F531E49BD}">
  <ds:schemaRefs>
    <ds:schemaRef ds:uri="http://purl.org/dc/elements/1.1/"/>
    <ds:schemaRef ds:uri="c00d7b54-89ac-4acc-a03f-d3245ab2bbde"/>
    <ds:schemaRef ds:uri="http://schemas.openxmlformats.org/package/2006/metadata/core-properties"/>
    <ds:schemaRef ds:uri="http://purl.org/dc/terms/"/>
    <ds:schemaRef ds:uri="651aacc4-8edb-4ea9-9ab7-2c6503b66614"/>
    <ds:schemaRef ds:uri="http://schemas.microsoft.com/office/2006/documentManagement/types"/>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4E724BB7-CBCB-4D36-A1CD-D520D75C5C9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1173</Words>
  <Application>Microsoft Office PowerPoint</Application>
  <PresentationFormat>Personalizado</PresentationFormat>
  <Paragraphs>160</Paragraphs>
  <Slides>19</Slides>
  <Notes>6</Notes>
  <HiddenSlides>0</HiddenSlides>
  <MMClips>0</MMClips>
  <ScaleCrop>false</ScaleCrop>
  <HeadingPairs>
    <vt:vector size="8" baseType="variant">
      <vt:variant>
        <vt:lpstr>Fuentes usadas</vt:lpstr>
      </vt:variant>
      <vt:variant>
        <vt:i4>7</vt:i4>
      </vt:variant>
      <vt:variant>
        <vt:lpstr>Tema</vt:lpstr>
      </vt:variant>
      <vt:variant>
        <vt:i4>6</vt:i4>
      </vt:variant>
      <vt:variant>
        <vt:lpstr>Servidores OLE incrustados</vt:lpstr>
      </vt:variant>
      <vt:variant>
        <vt:i4>2</vt:i4>
      </vt:variant>
      <vt:variant>
        <vt:lpstr>Títulos de diapositiva</vt:lpstr>
      </vt:variant>
      <vt:variant>
        <vt:i4>19</vt:i4>
      </vt:variant>
    </vt:vector>
  </HeadingPairs>
  <TitlesOfParts>
    <vt:vector size="34" baseType="lpstr">
      <vt:lpstr>ＭＳ Ｐゴシック</vt:lpstr>
      <vt:lpstr>Arial</vt:lpstr>
      <vt:lpstr>Calibri</vt:lpstr>
      <vt:lpstr>Century Gothic</vt:lpstr>
      <vt:lpstr>Verdana</vt:lpstr>
      <vt:lpstr>Wingdings</vt:lpstr>
      <vt:lpstr>Wingdings 3</vt:lpstr>
      <vt:lpstr>BASF_TitelDesign</vt:lpstr>
      <vt:lpstr>BASF_FolienDesign</vt:lpstr>
      <vt:lpstr>1_BASF_TitelDesign</vt:lpstr>
      <vt:lpstr>1_BASF_FolienDesign</vt:lpstr>
      <vt:lpstr>2_BASF_TitelDesign</vt:lpstr>
      <vt:lpstr>2_BASF_FolienDesign</vt:lpstr>
      <vt:lpstr>think-cell Folie</vt:lpstr>
      <vt:lpstr>Slide do think-cell</vt:lpstr>
      <vt:lpstr>RETC -  BASF  Peruana  S.A.</vt:lpstr>
      <vt:lpstr>Agenda</vt:lpstr>
      <vt:lpstr>BASF – We create chemistry</vt:lpstr>
      <vt:lpstr>BASF en América del Sur </vt:lpstr>
      <vt:lpstr>Sitios de producción y oficinas de ventas Sudamérica</vt:lpstr>
      <vt:lpstr>Principales Segmentos</vt:lpstr>
      <vt:lpstr>BASF Peruana  S.A.</vt:lpstr>
      <vt:lpstr>Cambio Climático - BASF</vt:lpstr>
      <vt:lpstr>Nuestras Metas </vt:lpstr>
      <vt:lpstr>Nuestras Metas</vt:lpstr>
      <vt:lpstr>Responsible Care®</vt:lpstr>
      <vt:lpstr>Responsible Care®</vt:lpstr>
      <vt:lpstr>Curso  Minam -  SNI</vt:lpstr>
      <vt:lpstr>Reunión  Expertos  MINAM - BASF</vt:lpstr>
      <vt:lpstr>Annual Site Report </vt:lpstr>
      <vt:lpstr>BASF Peruana  -  RETC</vt:lpstr>
      <vt:lpstr>BASF Peruana  -  RETC</vt:lpstr>
      <vt:lpstr>Conclusiones</vt:lpstr>
      <vt:lpstr>Presentación de PowerPoint</vt:lpstr>
    </vt:vector>
  </TitlesOfParts>
  <Company>BASF 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kus Jaeger</dc:creator>
  <cp:lastModifiedBy>User</cp:lastModifiedBy>
  <cp:revision>98</cp:revision>
  <cp:lastPrinted>2017-02-28T09:37:54Z</cp:lastPrinted>
  <dcterms:created xsi:type="dcterms:W3CDTF">2012-05-08T13:55:24Z</dcterms:created>
  <dcterms:modified xsi:type="dcterms:W3CDTF">2017-11-03T13:3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LayoutID">
    <vt:i4>258</vt:i4>
  </property>
  <property fmtid="{D5CDD505-2E9C-101B-9397-08002B2CF9AE}" pid="3" name="_BASF_Wizard">
    <vt:bool>false</vt:bool>
  </property>
  <property fmtid="{D5CDD505-2E9C-101B-9397-08002B2CF9AE}" pid="4" name="_BASF_Wizard_Datum">
    <vt:lpwstr>08.05.2012</vt:lpwstr>
  </property>
  <property fmtid="{D5CDD505-2E9C-101B-9397-08002B2CF9AE}" pid="5" name="_BASF_Wizard_Fusszeile">
    <vt:lpwstr/>
  </property>
  <property fmtid="{D5CDD505-2E9C-101B-9397-08002B2CF9AE}" pid="6" name="_BASF_Wizard_Seitenzahl">
    <vt:bool>true</vt:bool>
  </property>
  <property fmtid="{D5CDD505-2E9C-101B-9397-08002B2CF9AE}" pid="7" name="_BASF_Wizard_DokAnzeige">
    <vt:bool>false</vt:bool>
  </property>
  <property fmtid="{D5CDD505-2E9C-101B-9397-08002B2CF9AE}" pid="8" name="_BASF_Wizard_DokNurName">
    <vt:bool>true</vt:bool>
  </property>
  <property fmtid="{D5CDD505-2E9C-101B-9397-08002B2CF9AE}" pid="9" name="_BASF_Wizard_DokNameDir">
    <vt:bool>false</vt:bool>
  </property>
  <property fmtid="{D5CDD505-2E9C-101B-9397-08002B2CF9AE}" pid="10" name="_BASF_Wizard_Datum_Folie">
    <vt:lpwstr>08.05.2012</vt:lpwstr>
  </property>
  <property fmtid="{D5CDD505-2E9C-101B-9397-08002B2CF9AE}" pid="11" name="_BASF_Wizard_Fusszeile_Folie">
    <vt:lpwstr/>
  </property>
  <property fmtid="{D5CDD505-2E9C-101B-9397-08002B2CF9AE}" pid="12" name="_BASF_Wizard_Seitenzahl_Folie">
    <vt:bool>true</vt:bool>
  </property>
  <property fmtid="{D5CDD505-2E9C-101B-9397-08002B2CF9AE}" pid="13" name="_BASF_Wizard_DokAnzeige_Folie">
    <vt:bool>false</vt:bool>
  </property>
  <property fmtid="{D5CDD505-2E9C-101B-9397-08002B2CF9AE}" pid="14" name="_BASF_Wizard_DokNurName_Folie">
    <vt:bool>true</vt:bool>
  </property>
  <property fmtid="{D5CDD505-2E9C-101B-9397-08002B2CF9AE}" pid="15" name="_BASF_Wizard_DokNameDir_Folie">
    <vt:bool>false</vt:bool>
  </property>
  <property fmtid="{D5CDD505-2E9C-101B-9397-08002B2CF9AE}" pid="16" name="_BASF_Wizard_Unternehmensfarbe">
    <vt:i4>0</vt:i4>
  </property>
  <property fmtid="{D5CDD505-2E9C-101B-9397-08002B2CF9AE}" pid="17" name="_BASF_Wizard_Farbskala">
    <vt:i4>0</vt:i4>
  </property>
  <property fmtid="{D5CDD505-2E9C-101B-9397-08002B2CF9AE}" pid="18" name="_BASF_Wizard_Folienmaster">
    <vt:i4>0</vt:i4>
  </property>
  <property fmtid="{D5CDD505-2E9C-101B-9397-08002B2CF9AE}" pid="19" name="_BASF_Wizard_Titelmaster">
    <vt:i4>5</vt:i4>
  </property>
  <property fmtid="{D5CDD505-2E9C-101B-9397-08002B2CF9AE}" pid="20" name="_BASF_Wizard_Klasse">
    <vt:i4>0</vt:i4>
  </property>
  <property fmtid="{D5CDD505-2E9C-101B-9397-08002B2CF9AE}" pid="21" name="_BASF_Classification_HeaderFooterText">
    <vt:lpwstr/>
  </property>
  <property fmtid="{D5CDD505-2E9C-101B-9397-08002B2CF9AE}" pid="22" name="_BASF_Classification_Language">
    <vt:i4>1031</vt:i4>
  </property>
  <property fmtid="{D5CDD505-2E9C-101B-9397-08002B2CF9AE}" pid="23" name="_BASF_Wizard_Version">
    <vt:lpwstr>7.1.0</vt:lpwstr>
  </property>
  <property fmtid="{D5CDD505-2E9C-101B-9397-08002B2CF9AE}" pid="24" name="_BASF_Wizard_PresTyp">
    <vt:i4>0</vt:i4>
  </property>
  <property fmtid="{D5CDD505-2E9C-101B-9397-08002B2CF9AE}" pid="25" name="_BASF_Wizard_Photo">
    <vt:i4>0</vt:i4>
  </property>
  <property fmtid="{D5CDD505-2E9C-101B-9397-08002B2CF9AE}" pid="26" name="_BASF_BackPicture">
    <vt:lpwstr/>
  </property>
  <property fmtid="{D5CDD505-2E9C-101B-9397-08002B2CF9AE}" pid="27" name="_BASF_BackPictureSlide">
    <vt:lpwstr/>
  </property>
  <property fmtid="{D5CDD505-2E9C-101B-9397-08002B2CF9AE}" pid="28" name="_BASF_Wizard_Papierformat">
    <vt:lpwstr>4:3</vt:lpwstr>
  </property>
  <property fmtid="{D5CDD505-2E9C-101B-9397-08002B2CF9AE}" pid="29" name="_BASF_Wizard_Logo2015">
    <vt:lpwstr>1</vt:lpwstr>
  </property>
  <property fmtid="{D5CDD505-2E9C-101B-9397-08002B2CF9AE}" pid="30" name="ContentTypeId">
    <vt:lpwstr>0x01010037825802CD9C2D4E9353E65B058B1AE5</vt:lpwstr>
  </property>
</Properties>
</file>